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7.xml" ContentType="application/vnd.openxmlformats-officedocument.theme+xml"/>
  <Override PartName="/ppt/tags/tag241.xml" ContentType="application/vnd.openxmlformats-officedocument.presentationml.tags+xml"/>
  <Override PartName="/ppt/tags/tag242.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700" r:id="rId2"/>
    <p:sldMasterId id="2147483726" r:id="rId3"/>
    <p:sldMasterId id="2147483752" r:id="rId4"/>
    <p:sldMasterId id="2147483778" r:id="rId5"/>
    <p:sldMasterId id="2147483804" r:id="rId6"/>
    <p:sldMasterId id="2147484010" r:id="rId7"/>
  </p:sldMasterIdLst>
  <p:notesMasterIdLst>
    <p:notesMasterId r:id="rId20"/>
  </p:notesMasterIdLst>
  <p:sldIdLst>
    <p:sldId id="278" r:id="rId8"/>
    <p:sldId id="257" r:id="rId9"/>
    <p:sldId id="268" r:id="rId10"/>
    <p:sldId id="269" r:id="rId11"/>
    <p:sldId id="271" r:id="rId12"/>
    <p:sldId id="272" r:id="rId13"/>
    <p:sldId id="273" r:id="rId14"/>
    <p:sldId id="274" r:id="rId15"/>
    <p:sldId id="276" r:id="rId16"/>
    <p:sldId id="275" r:id="rId17"/>
    <p:sldId id="277" r:id="rId18"/>
    <p:sldId id="270" r:id="rId19"/>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883" autoAdjust="0"/>
  </p:normalViewPr>
  <p:slideViewPr>
    <p:cSldViewPr>
      <p:cViewPr varScale="1">
        <p:scale>
          <a:sx n="68" d="100"/>
          <a:sy n="68" d="100"/>
        </p:scale>
        <p:origin x="1240" y="36"/>
      </p:cViewPr>
      <p:guideLst>
        <p:guide orient="horz" pos="2160"/>
        <p:guide pos="288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NULL"/></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B6A8608A-D9DC-47F1-8910-B98B4660E904}" type="datetimeFigureOut">
              <a:rPr lang="en-US" smtClean="0"/>
              <a:t>2/8/2019</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1ECE610-F007-4D2B-BDED-D1D20D7ACC4C}" type="slidenum">
              <a:rPr lang="en-US" smtClean="0"/>
              <a:t>‹#›</a:t>
            </a:fld>
            <a:endParaRPr lang="en-US"/>
          </a:p>
        </p:txBody>
      </p:sp>
    </p:spTree>
    <p:extLst>
      <p:ext uri="{BB962C8B-B14F-4D97-AF65-F5344CB8AC3E}">
        <p14:creationId xmlns:p14="http://schemas.microsoft.com/office/powerpoint/2010/main" val="20144914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CE610-F007-4D2B-BDED-D1D20D7ACC4C}" type="slidenum">
              <a:rPr lang="en-US" smtClean="0"/>
              <a:t>2</a:t>
            </a:fld>
            <a:endParaRPr lang="en-US"/>
          </a:p>
        </p:txBody>
      </p:sp>
    </p:spTree>
    <p:extLst>
      <p:ext uri="{BB962C8B-B14F-4D97-AF65-F5344CB8AC3E}">
        <p14:creationId xmlns:p14="http://schemas.microsoft.com/office/powerpoint/2010/main" val="9286241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CE610-F007-4D2B-BDED-D1D20D7ACC4C}" type="slidenum">
              <a:rPr lang="en-US" smtClean="0"/>
              <a:t>11</a:t>
            </a:fld>
            <a:endParaRPr lang="en-US"/>
          </a:p>
        </p:txBody>
      </p:sp>
    </p:spTree>
    <p:extLst>
      <p:ext uri="{BB962C8B-B14F-4D97-AF65-F5344CB8AC3E}">
        <p14:creationId xmlns:p14="http://schemas.microsoft.com/office/powerpoint/2010/main" val="8506865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CE610-F007-4D2B-BDED-D1D20D7ACC4C}" type="slidenum">
              <a:rPr lang="en-US" smtClean="0"/>
              <a:t>12</a:t>
            </a:fld>
            <a:endParaRPr lang="en-US"/>
          </a:p>
        </p:txBody>
      </p:sp>
    </p:spTree>
    <p:extLst>
      <p:ext uri="{BB962C8B-B14F-4D97-AF65-F5344CB8AC3E}">
        <p14:creationId xmlns:p14="http://schemas.microsoft.com/office/powerpoint/2010/main" val="15909634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CE610-F007-4D2B-BDED-D1D20D7ACC4C}" type="slidenum">
              <a:rPr lang="en-US" smtClean="0"/>
              <a:t>3</a:t>
            </a:fld>
            <a:endParaRPr lang="en-US"/>
          </a:p>
        </p:txBody>
      </p:sp>
    </p:spTree>
    <p:extLst>
      <p:ext uri="{BB962C8B-B14F-4D97-AF65-F5344CB8AC3E}">
        <p14:creationId xmlns:p14="http://schemas.microsoft.com/office/powerpoint/2010/main" val="1003794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CE610-F007-4D2B-BDED-D1D20D7ACC4C}" type="slidenum">
              <a:rPr lang="en-US" smtClean="0"/>
              <a:t>4</a:t>
            </a:fld>
            <a:endParaRPr lang="en-US"/>
          </a:p>
        </p:txBody>
      </p:sp>
    </p:spTree>
    <p:extLst>
      <p:ext uri="{BB962C8B-B14F-4D97-AF65-F5344CB8AC3E}">
        <p14:creationId xmlns:p14="http://schemas.microsoft.com/office/powerpoint/2010/main" val="36294101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CE610-F007-4D2B-BDED-D1D20D7ACC4C}" type="slidenum">
              <a:rPr lang="en-US" smtClean="0"/>
              <a:t>5</a:t>
            </a:fld>
            <a:endParaRPr lang="en-US"/>
          </a:p>
        </p:txBody>
      </p:sp>
    </p:spTree>
    <p:extLst>
      <p:ext uri="{BB962C8B-B14F-4D97-AF65-F5344CB8AC3E}">
        <p14:creationId xmlns:p14="http://schemas.microsoft.com/office/powerpoint/2010/main" val="28648569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CE610-F007-4D2B-BDED-D1D20D7ACC4C}" type="slidenum">
              <a:rPr lang="en-US" smtClean="0"/>
              <a:t>6</a:t>
            </a:fld>
            <a:endParaRPr lang="en-US"/>
          </a:p>
        </p:txBody>
      </p:sp>
    </p:spTree>
    <p:extLst>
      <p:ext uri="{BB962C8B-B14F-4D97-AF65-F5344CB8AC3E}">
        <p14:creationId xmlns:p14="http://schemas.microsoft.com/office/powerpoint/2010/main" val="34269208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CE610-F007-4D2B-BDED-D1D20D7ACC4C}" type="slidenum">
              <a:rPr lang="en-US" smtClean="0"/>
              <a:t>7</a:t>
            </a:fld>
            <a:endParaRPr lang="en-US"/>
          </a:p>
        </p:txBody>
      </p:sp>
    </p:spTree>
    <p:extLst>
      <p:ext uri="{BB962C8B-B14F-4D97-AF65-F5344CB8AC3E}">
        <p14:creationId xmlns:p14="http://schemas.microsoft.com/office/powerpoint/2010/main" val="39254074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CE610-F007-4D2B-BDED-D1D20D7ACC4C}" type="slidenum">
              <a:rPr lang="en-US" smtClean="0"/>
              <a:t>8</a:t>
            </a:fld>
            <a:endParaRPr lang="en-US"/>
          </a:p>
        </p:txBody>
      </p:sp>
    </p:spTree>
    <p:extLst>
      <p:ext uri="{BB962C8B-B14F-4D97-AF65-F5344CB8AC3E}">
        <p14:creationId xmlns:p14="http://schemas.microsoft.com/office/powerpoint/2010/main" val="12111865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CE610-F007-4D2B-BDED-D1D20D7ACC4C}" type="slidenum">
              <a:rPr lang="en-US" smtClean="0"/>
              <a:t>9</a:t>
            </a:fld>
            <a:endParaRPr lang="en-US"/>
          </a:p>
        </p:txBody>
      </p:sp>
    </p:spTree>
    <p:extLst>
      <p:ext uri="{BB962C8B-B14F-4D97-AF65-F5344CB8AC3E}">
        <p14:creationId xmlns:p14="http://schemas.microsoft.com/office/powerpoint/2010/main" val="12502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CE610-F007-4D2B-BDED-D1D20D7ACC4C}" type="slidenum">
              <a:rPr lang="en-US" smtClean="0"/>
              <a:t>10</a:t>
            </a:fld>
            <a:endParaRPr lang="en-US"/>
          </a:p>
        </p:txBody>
      </p:sp>
    </p:spTree>
    <p:extLst>
      <p:ext uri="{BB962C8B-B14F-4D97-AF65-F5344CB8AC3E}">
        <p14:creationId xmlns:p14="http://schemas.microsoft.com/office/powerpoint/2010/main" val="26034045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NULL"/><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10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2.xml"/><Relationship Id="rId1" Type="http://schemas.openxmlformats.org/officeDocument/2006/relationships/vmlDrawing" Target="../drawings/vmlDrawing26.vml"/><Relationship Id="rId5" Type="http://schemas.openxmlformats.org/officeDocument/2006/relationships/image" Target="NULL"/><Relationship Id="rId4" Type="http://schemas.openxmlformats.org/officeDocument/2006/relationships/oleObject" Target="../embeddings/oleObject26.bin"/></Relationships>
</file>

<file path=ppt/slideLayouts/_rels/slideLayout10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65.xml"/><Relationship Id="rId7" Type="http://schemas.openxmlformats.org/officeDocument/2006/relationships/tags" Target="../tags/tag169.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1.xml"/><Relationship Id="rId1" Type="http://schemas.openxmlformats.org/officeDocument/2006/relationships/tags" Target="../tags/tag170.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tags" Target="../tags/tag173.xml"/><Relationship Id="rId1" Type="http://schemas.openxmlformats.org/officeDocument/2006/relationships/tags" Target="../tags/tag172.xml"/><Relationship Id="rId4"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tags" Target="../tags/tag175.xml"/><Relationship Id="rId5" Type="http://schemas.openxmlformats.org/officeDocument/2006/relationships/slideMaster" Target="../slideMasters/slideMaster5.xml"/><Relationship Id="rId4" Type="http://schemas.openxmlformats.org/officeDocument/2006/relationships/tags" Target="../tags/tag178.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0.xml"/><Relationship Id="rId1" Type="http://schemas.openxmlformats.org/officeDocument/2006/relationships/tags" Target="../tags/tag179.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tags" Target="../tags/tag181.xml"/><Relationship Id="rId4"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5.xml"/><Relationship Id="rId4" Type="http://schemas.openxmlformats.org/officeDocument/2006/relationships/tags" Target="../tags/tag187.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9.xml"/><Relationship Id="rId1" Type="http://schemas.openxmlformats.org/officeDocument/2006/relationships/tags" Target="../tags/tag188.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tags" Target="../tags/tag190.xml"/><Relationship Id="rId4"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195.xml"/><Relationship Id="rId2" Type="http://schemas.openxmlformats.org/officeDocument/2006/relationships/tags" Target="../tags/tag194.xml"/><Relationship Id="rId1" Type="http://schemas.openxmlformats.org/officeDocument/2006/relationships/tags" Target="../tags/tag193.xml"/><Relationship Id="rId5" Type="http://schemas.openxmlformats.org/officeDocument/2006/relationships/slideMaster" Target="../slideMasters/slideMaster5.xml"/><Relationship Id="rId4" Type="http://schemas.openxmlformats.org/officeDocument/2006/relationships/tags" Target="../tags/tag196.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7.xml"/><Relationship Id="rId1" Type="http://schemas.openxmlformats.org/officeDocument/2006/relationships/vmlDrawing" Target="../drawings/vmlDrawing27.vml"/><Relationship Id="rId5" Type="http://schemas.openxmlformats.org/officeDocument/2006/relationships/image" Target="NULL"/><Relationship Id="rId4" Type="http://schemas.openxmlformats.org/officeDocument/2006/relationships/oleObject" Target="../embeddings/oleObject27.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8.xml"/><Relationship Id="rId1" Type="http://schemas.openxmlformats.org/officeDocument/2006/relationships/vmlDrawing" Target="../drawings/vmlDrawing28.vml"/><Relationship Id="rId5" Type="http://schemas.openxmlformats.org/officeDocument/2006/relationships/image" Target="NULL"/><Relationship Id="rId4" Type="http://schemas.openxmlformats.org/officeDocument/2006/relationships/oleObject" Target="../embeddings/oleObject28.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9.xml"/><Relationship Id="rId1" Type="http://schemas.openxmlformats.org/officeDocument/2006/relationships/vmlDrawing" Target="../drawings/vmlDrawing29.vml"/><Relationship Id="rId5" Type="http://schemas.openxmlformats.org/officeDocument/2006/relationships/image" Target="NULL"/><Relationship Id="rId4" Type="http://schemas.openxmlformats.org/officeDocument/2006/relationships/oleObject" Target="../embeddings/oleObject29.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0.xml"/><Relationship Id="rId1" Type="http://schemas.openxmlformats.org/officeDocument/2006/relationships/vmlDrawing" Target="../drawings/vmlDrawing30.vml"/><Relationship Id="rId5" Type="http://schemas.openxmlformats.org/officeDocument/2006/relationships/image" Target="NULL"/><Relationship Id="rId4" Type="http://schemas.openxmlformats.org/officeDocument/2006/relationships/oleObject" Target="../embeddings/oleObject30.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2.xml"/><Relationship Id="rId1" Type="http://schemas.openxmlformats.org/officeDocument/2006/relationships/vmlDrawing" Target="../drawings/vmlDrawing32.vml"/><Relationship Id="rId5" Type="http://schemas.openxmlformats.org/officeDocument/2006/relationships/image" Target="NULL"/><Relationship Id="rId4" Type="http://schemas.openxmlformats.org/officeDocument/2006/relationships/oleObject" Target="../embeddings/oleObject32.bin"/></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05.xml"/><Relationship Id="rId7" Type="http://schemas.openxmlformats.org/officeDocument/2006/relationships/tags" Target="../tags/tag209.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tags" Target="../tags/tag208.xml"/><Relationship Id="rId5" Type="http://schemas.openxmlformats.org/officeDocument/2006/relationships/tags" Target="../tags/tag207.xml"/><Relationship Id="rId4" Type="http://schemas.openxmlformats.org/officeDocument/2006/relationships/tags" Target="../tags/tag20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1.xml"/><Relationship Id="rId1" Type="http://schemas.openxmlformats.org/officeDocument/2006/relationships/tags" Target="../tags/tag210.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tags" Target="../tags/tag212.xml"/><Relationship Id="rId4"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217.xml"/><Relationship Id="rId2" Type="http://schemas.openxmlformats.org/officeDocument/2006/relationships/tags" Target="../tags/tag216.xml"/><Relationship Id="rId1" Type="http://schemas.openxmlformats.org/officeDocument/2006/relationships/tags" Target="../tags/tag215.xml"/><Relationship Id="rId5" Type="http://schemas.openxmlformats.org/officeDocument/2006/relationships/slideMaster" Target="../slideMasters/slideMaster6.xml"/><Relationship Id="rId4" Type="http://schemas.openxmlformats.org/officeDocument/2006/relationships/tags" Target="../tags/tag218.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0.xml"/><Relationship Id="rId1" Type="http://schemas.openxmlformats.org/officeDocument/2006/relationships/tags" Target="../tags/tag219.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tags" Target="../tags/tag221.xml"/><Relationship Id="rId4"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226.xml"/><Relationship Id="rId2" Type="http://schemas.openxmlformats.org/officeDocument/2006/relationships/tags" Target="../tags/tag225.xml"/><Relationship Id="rId1" Type="http://schemas.openxmlformats.org/officeDocument/2006/relationships/tags" Target="../tags/tag224.xml"/><Relationship Id="rId5" Type="http://schemas.openxmlformats.org/officeDocument/2006/relationships/slideMaster" Target="../slideMasters/slideMaster6.xml"/><Relationship Id="rId4" Type="http://schemas.openxmlformats.org/officeDocument/2006/relationships/tags" Target="../tags/tag227.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9.xml"/><Relationship Id="rId1" Type="http://schemas.openxmlformats.org/officeDocument/2006/relationships/tags" Target="../tags/tag228.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tags" Target="../tags/tag230.xml"/><Relationship Id="rId4"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tags" Target="../tags/tag233.xml"/><Relationship Id="rId5" Type="http://schemas.openxmlformats.org/officeDocument/2006/relationships/slideMaster" Target="../slideMasters/slideMaster6.xml"/><Relationship Id="rId4" Type="http://schemas.openxmlformats.org/officeDocument/2006/relationships/tags" Target="../tags/tag236.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7.xml"/><Relationship Id="rId1" Type="http://schemas.openxmlformats.org/officeDocument/2006/relationships/vmlDrawing" Target="../drawings/vmlDrawing33.vml"/><Relationship Id="rId5" Type="http://schemas.openxmlformats.org/officeDocument/2006/relationships/image" Target="NULL"/><Relationship Id="rId4" Type="http://schemas.openxmlformats.org/officeDocument/2006/relationships/oleObject" Target="../embeddings/oleObject33.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8.xml"/><Relationship Id="rId1" Type="http://schemas.openxmlformats.org/officeDocument/2006/relationships/vmlDrawing" Target="../drawings/vmlDrawing34.vml"/><Relationship Id="rId5" Type="http://schemas.openxmlformats.org/officeDocument/2006/relationships/image" Target="NULL"/><Relationship Id="rId4" Type="http://schemas.openxmlformats.org/officeDocument/2006/relationships/oleObject" Target="../embeddings/oleObject3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9.xml"/><Relationship Id="rId1" Type="http://schemas.openxmlformats.org/officeDocument/2006/relationships/vmlDrawing" Target="../drawings/vmlDrawing35.vml"/><Relationship Id="rId5" Type="http://schemas.openxmlformats.org/officeDocument/2006/relationships/image" Target="NULL"/><Relationship Id="rId4" Type="http://schemas.openxmlformats.org/officeDocument/2006/relationships/oleObject" Target="../embeddings/oleObject35.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0.xml"/><Relationship Id="rId1" Type="http://schemas.openxmlformats.org/officeDocument/2006/relationships/vmlDrawing" Target="../drawings/vmlDrawing36.vml"/><Relationship Id="rId5" Type="http://schemas.openxmlformats.org/officeDocument/2006/relationships/image" Target="NULL"/><Relationship Id="rId4" Type="http://schemas.openxmlformats.org/officeDocument/2006/relationships/oleObject" Target="../embeddings/oleObject36.bin"/></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1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1.xml"/><Relationship Id="rId1" Type="http://schemas.openxmlformats.org/officeDocument/2006/relationships/vmlDrawing" Target="../drawings/vmlDrawing37.vml"/><Relationship Id="rId5" Type="http://schemas.openxmlformats.org/officeDocument/2006/relationships/image" Target="NULL"/><Relationship Id="rId4" Type="http://schemas.openxmlformats.org/officeDocument/2006/relationships/oleObject" Target="../embeddings/oleObject33.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2.xml"/><Relationship Id="rId1" Type="http://schemas.openxmlformats.org/officeDocument/2006/relationships/vmlDrawing" Target="../drawings/vmlDrawing38.vml"/><Relationship Id="rId5" Type="http://schemas.openxmlformats.org/officeDocument/2006/relationships/image" Target="NULL"/><Relationship Id="rId4" Type="http://schemas.openxmlformats.org/officeDocument/2006/relationships/oleObject" Target="../embeddings/oleObject36.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vml"/><Relationship Id="rId5" Type="http://schemas.openxmlformats.org/officeDocument/2006/relationships/image" Target="NULL"/><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4.vml"/><Relationship Id="rId5" Type="http://schemas.openxmlformats.org/officeDocument/2006/relationships/image" Target="NULL"/><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5.vml"/><Relationship Id="rId5" Type="http://schemas.openxmlformats.org/officeDocument/2006/relationships/image" Target="NULL"/><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6.vml"/><Relationship Id="rId5" Type="http://schemas.openxmlformats.org/officeDocument/2006/relationships/image" Target="NULL"/><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8.vml"/><Relationship Id="rId5" Type="http://schemas.openxmlformats.org/officeDocument/2006/relationships/image" Target="NULL"/><Relationship Id="rId4" Type="http://schemas.openxmlformats.org/officeDocument/2006/relationships/oleObject" Target="../embeddings/oleObject8.bin"/></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slideMaster" Target="../slideMasters/slideMaster2.xml"/><Relationship Id="rId4" Type="http://schemas.openxmlformats.org/officeDocument/2006/relationships/tags" Target="../tags/tag58.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slideMaster" Target="../slideMasters/slideMaster2.xml"/><Relationship Id="rId4" Type="http://schemas.openxmlformats.org/officeDocument/2006/relationships/tags" Target="../tags/tag6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tags" Target="../tags/tag70.xml"/><Relationship Id="rId4"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slideMaster" Target="../slideMasters/slideMaster2.xml"/><Relationship Id="rId4" Type="http://schemas.openxmlformats.org/officeDocument/2006/relationships/tags" Target="../tags/tag76.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9.vml"/><Relationship Id="rId5" Type="http://schemas.openxmlformats.org/officeDocument/2006/relationships/image" Target="NULL"/><Relationship Id="rId4" Type="http://schemas.openxmlformats.org/officeDocument/2006/relationships/oleObject" Target="../embeddings/oleObject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10.vml"/><Relationship Id="rId5" Type="http://schemas.openxmlformats.org/officeDocument/2006/relationships/image" Target="NULL"/><Relationship Id="rId4" Type="http://schemas.openxmlformats.org/officeDocument/2006/relationships/oleObject" Target="../embeddings/oleObject1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11.vml"/><Relationship Id="rId5" Type="http://schemas.openxmlformats.org/officeDocument/2006/relationships/image" Target="NULL"/><Relationship Id="rId4" Type="http://schemas.openxmlformats.org/officeDocument/2006/relationships/oleObject" Target="../embeddings/oleObject1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12.vml"/><Relationship Id="rId5" Type="http://schemas.openxmlformats.org/officeDocument/2006/relationships/image" Target="NULL"/><Relationship Id="rId4" Type="http://schemas.openxmlformats.org/officeDocument/2006/relationships/oleObject" Target="../embeddings/oleObject12.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vmlDrawing" Target="../drawings/vmlDrawing14.vml"/><Relationship Id="rId5" Type="http://schemas.openxmlformats.org/officeDocument/2006/relationships/image" Target="NULL"/><Relationship Id="rId4" Type="http://schemas.openxmlformats.org/officeDocument/2006/relationships/oleObject" Target="../embeddings/oleObject14.bin"/></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5" Type="http://schemas.openxmlformats.org/officeDocument/2006/relationships/tags" Target="../tags/tag87.xml"/><Relationship Id="rId4" Type="http://schemas.openxmlformats.org/officeDocument/2006/relationships/tags" Target="../tags/tag8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tags" Target="../tags/tag90.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ags" Target="../tags/tag92.xml"/><Relationship Id="rId4"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slideMaster" Target="../slideMasters/slideMaster3.xml"/><Relationship Id="rId4" Type="http://schemas.openxmlformats.org/officeDocument/2006/relationships/tags" Target="../tags/tag98.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tags" Target="../tags/tag99.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tags" Target="../tags/tag101.xml"/><Relationship Id="rId4"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slideMaster" Target="../slideMasters/slideMaster3.xml"/><Relationship Id="rId4" Type="http://schemas.openxmlformats.org/officeDocument/2006/relationships/tags" Target="../tags/tag107.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tags" Target="../tags/tag110.xml"/><Relationship Id="rId4"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slideMaster" Target="../slideMasters/slideMaster3.xml"/><Relationship Id="rId4" Type="http://schemas.openxmlformats.org/officeDocument/2006/relationships/tags" Target="../tags/tag116.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vmlDrawing" Target="../drawings/vmlDrawing15.vml"/><Relationship Id="rId5" Type="http://schemas.openxmlformats.org/officeDocument/2006/relationships/image" Target="NULL"/><Relationship Id="rId4" Type="http://schemas.openxmlformats.org/officeDocument/2006/relationships/oleObject" Target="../embeddings/oleObject15.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8.xml"/><Relationship Id="rId1" Type="http://schemas.openxmlformats.org/officeDocument/2006/relationships/vmlDrawing" Target="../drawings/vmlDrawing16.vml"/><Relationship Id="rId5" Type="http://schemas.openxmlformats.org/officeDocument/2006/relationships/image" Target="NULL"/><Relationship Id="rId4" Type="http://schemas.openxmlformats.org/officeDocument/2006/relationships/oleObject" Target="../embeddings/oleObject16.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vmlDrawing" Target="../drawings/vmlDrawing17.vml"/><Relationship Id="rId5" Type="http://schemas.openxmlformats.org/officeDocument/2006/relationships/image" Target="NULL"/><Relationship Id="rId4" Type="http://schemas.openxmlformats.org/officeDocument/2006/relationships/oleObject" Target="../embeddings/oleObject17.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0.xml"/><Relationship Id="rId1" Type="http://schemas.openxmlformats.org/officeDocument/2006/relationships/vmlDrawing" Target="../drawings/vmlDrawing18.vml"/><Relationship Id="rId5" Type="http://schemas.openxmlformats.org/officeDocument/2006/relationships/image" Target="NULL"/><Relationship Id="rId4" Type="http://schemas.openxmlformats.org/officeDocument/2006/relationships/oleObject" Target="../embeddings/oleObject18.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2.xml"/><Relationship Id="rId1" Type="http://schemas.openxmlformats.org/officeDocument/2006/relationships/vmlDrawing" Target="../drawings/vmlDrawing20.vml"/><Relationship Id="rId5" Type="http://schemas.openxmlformats.org/officeDocument/2006/relationships/image" Target="NULL"/><Relationship Id="rId4" Type="http://schemas.openxmlformats.org/officeDocument/2006/relationships/oleObject" Target="../embeddings/oleObject20.bin"/></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25.xml"/><Relationship Id="rId7" Type="http://schemas.openxmlformats.org/officeDocument/2006/relationships/tags" Target="../tags/tag129.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tags" Target="../tags/tag128.xml"/><Relationship Id="rId5" Type="http://schemas.openxmlformats.org/officeDocument/2006/relationships/tags" Target="../tags/tag127.xml"/><Relationship Id="rId4" Type="http://schemas.openxmlformats.org/officeDocument/2006/relationships/tags" Target="../tags/tag12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1.xml"/><Relationship Id="rId1" Type="http://schemas.openxmlformats.org/officeDocument/2006/relationships/tags" Target="../tags/tag130.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ags" Target="../tags/tag132.xml"/><Relationship Id="rId4"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4.xml"/><Relationship Id="rId4" Type="http://schemas.openxmlformats.org/officeDocument/2006/relationships/tags" Target="../tags/tag138.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0.xml"/><Relationship Id="rId1" Type="http://schemas.openxmlformats.org/officeDocument/2006/relationships/tags" Target="../tags/tag139.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tags" Target="../tags/tag141.xml"/><Relationship Id="rId4"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slideMaster" Target="../slideMasters/slideMaster4.xml"/><Relationship Id="rId4" Type="http://schemas.openxmlformats.org/officeDocument/2006/relationships/tags" Target="../tags/tag147.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9.xml"/><Relationship Id="rId1" Type="http://schemas.openxmlformats.org/officeDocument/2006/relationships/tags" Target="../tags/tag148.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 Id="rId4"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55.xml"/><Relationship Id="rId2" Type="http://schemas.openxmlformats.org/officeDocument/2006/relationships/tags" Target="../tags/tag154.xml"/><Relationship Id="rId1" Type="http://schemas.openxmlformats.org/officeDocument/2006/relationships/tags" Target="../tags/tag153.xml"/><Relationship Id="rId5" Type="http://schemas.openxmlformats.org/officeDocument/2006/relationships/slideMaster" Target="../slideMasters/slideMaster4.xml"/><Relationship Id="rId4" Type="http://schemas.openxmlformats.org/officeDocument/2006/relationships/tags" Target="../tags/tag156.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7.xml"/><Relationship Id="rId1" Type="http://schemas.openxmlformats.org/officeDocument/2006/relationships/vmlDrawing" Target="../drawings/vmlDrawing21.vml"/><Relationship Id="rId5" Type="http://schemas.openxmlformats.org/officeDocument/2006/relationships/image" Target="NULL"/><Relationship Id="rId4" Type="http://schemas.openxmlformats.org/officeDocument/2006/relationships/oleObject" Target="../embeddings/oleObject21.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8.xml"/><Relationship Id="rId1" Type="http://schemas.openxmlformats.org/officeDocument/2006/relationships/vmlDrawing" Target="../drawings/vmlDrawing22.vml"/><Relationship Id="rId5" Type="http://schemas.openxmlformats.org/officeDocument/2006/relationships/image" Target="NULL"/><Relationship Id="rId4" Type="http://schemas.openxmlformats.org/officeDocument/2006/relationships/oleObject" Target="../embeddings/oleObject22.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9.xml"/><Relationship Id="rId1" Type="http://schemas.openxmlformats.org/officeDocument/2006/relationships/vmlDrawing" Target="../drawings/vmlDrawing23.vml"/><Relationship Id="rId5" Type="http://schemas.openxmlformats.org/officeDocument/2006/relationships/image" Target="NULL"/><Relationship Id="rId4" Type="http://schemas.openxmlformats.org/officeDocument/2006/relationships/oleObject" Target="../embeddings/oleObject23.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vmlDrawing" Target="../drawings/vmlDrawing24.vml"/><Relationship Id="rId5" Type="http://schemas.openxmlformats.org/officeDocument/2006/relationships/image" Target="NULL"/><Relationship Id="rId4" Type="http://schemas.openxmlformats.org/officeDocument/2006/relationships/oleObject" Target="../embeddings/oleObject24.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4" name="Freeform 3"/>
          <p:cNvSpPr/>
          <p:nvPr/>
        </p:nvSpPr>
        <p:spPr bwMode="auto">
          <a:xfrm>
            <a:off x="6661150" y="0"/>
            <a:ext cx="2503488" cy="6858000"/>
          </a:xfrm>
          <a:custGeom>
            <a:avLst/>
            <a:gdLst>
              <a:gd name="connsiteX0" fmla="*/ 2241550 w 2503488"/>
              <a:gd name="connsiteY0" fmla="*/ 0 h 6858000"/>
              <a:gd name="connsiteX1" fmla="*/ 2503488 w 2503488"/>
              <a:gd name="connsiteY1" fmla="*/ 0 h 6858000"/>
              <a:gd name="connsiteX2" fmla="*/ 2503488 w 2503488"/>
              <a:gd name="connsiteY2" fmla="*/ 1701800 h 6858000"/>
              <a:gd name="connsiteX3" fmla="*/ 2491822 w 2503488"/>
              <a:gd name="connsiteY3" fmla="*/ 1681541 h 6858000"/>
              <a:gd name="connsiteX4" fmla="*/ 2491822 w 2503488"/>
              <a:gd name="connsiteY4" fmla="*/ 1681542 h 6858000"/>
              <a:gd name="connsiteX5" fmla="*/ 2503488 w 2503488"/>
              <a:gd name="connsiteY5" fmla="*/ 1701801 h 6858000"/>
              <a:gd name="connsiteX6" fmla="*/ 2503488 w 2503488"/>
              <a:gd name="connsiteY6" fmla="*/ 3879850 h 6858000"/>
              <a:gd name="connsiteX7" fmla="*/ 2503488 w 2503488"/>
              <a:gd name="connsiteY7" fmla="*/ 3879851 h 6858000"/>
              <a:gd name="connsiteX8" fmla="*/ 2503488 w 2503488"/>
              <a:gd name="connsiteY8" fmla="*/ 6057900 h 6858000"/>
              <a:gd name="connsiteX9" fmla="*/ 2039938 w 2503488"/>
              <a:gd name="connsiteY9" fmla="*/ 6858000 h 6858000"/>
              <a:gd name="connsiteX10" fmla="*/ 1722438 w 2503488"/>
              <a:gd name="connsiteY10" fmla="*/ 6858000 h 6858000"/>
              <a:gd name="connsiteX11" fmla="*/ 1 w 2503488"/>
              <a:gd name="connsiteY11" fmla="*/ 3879851 h 6858000"/>
              <a:gd name="connsiteX12" fmla="*/ 0 w 2503488"/>
              <a:gd name="connsiteY12" fmla="*/ 3879851 h 6858000"/>
              <a:gd name="connsiteX13" fmla="*/ 0 w 2503488"/>
              <a:gd name="connsiteY13" fmla="*/ 3879850 h 6858000"/>
              <a:gd name="connsiteX14" fmla="*/ 1 w 2503488"/>
              <a:gd name="connsiteY14" fmla="*/ 3879850 h 6858000"/>
              <a:gd name="connsiteX15" fmla="*/ 1722691 w 2503488"/>
              <a:gd name="connsiteY15" fmla="*/ 900729 h 6858000"/>
              <a:gd name="connsiteX16" fmla="*/ 1766524 w 2503488"/>
              <a:gd name="connsiteY16" fmla="*/ 824925 h 6858000"/>
              <a:gd name="connsiteX17" fmla="*/ 1882775 w 2503488"/>
              <a:gd name="connsiteY17" fmla="*/ 623888 h 6858000"/>
              <a:gd name="connsiteX18" fmla="*/ 1902681 w 2503488"/>
              <a:gd name="connsiteY18" fmla="*/ 658455 h 6858000"/>
              <a:gd name="connsiteX19" fmla="*/ 1882775 w 2503488"/>
              <a:gd name="connsiteY19" fmla="*/ 623887 h 6858000"/>
              <a:gd name="connsiteX20" fmla="*/ 2241550 w 2503488"/>
              <a:gd name="connsiteY20"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491822 w 2503488"/>
              <a:gd name="connsiteY3" fmla="*/ 1681541 h 6858000"/>
              <a:gd name="connsiteX4" fmla="*/ 2503488 w 2503488"/>
              <a:gd name="connsiteY4" fmla="*/ 1701801 h 6858000"/>
              <a:gd name="connsiteX5" fmla="*/ 2503488 w 2503488"/>
              <a:gd name="connsiteY5" fmla="*/ 3879850 h 6858000"/>
              <a:gd name="connsiteX6" fmla="*/ 2503488 w 2503488"/>
              <a:gd name="connsiteY6" fmla="*/ 3879851 h 6858000"/>
              <a:gd name="connsiteX7" fmla="*/ 2503488 w 2503488"/>
              <a:gd name="connsiteY7" fmla="*/ 6057900 h 6858000"/>
              <a:gd name="connsiteX8" fmla="*/ 2039938 w 2503488"/>
              <a:gd name="connsiteY8" fmla="*/ 6858000 h 6858000"/>
              <a:gd name="connsiteX9" fmla="*/ 1722438 w 2503488"/>
              <a:gd name="connsiteY9" fmla="*/ 6858000 h 6858000"/>
              <a:gd name="connsiteX10" fmla="*/ 1 w 2503488"/>
              <a:gd name="connsiteY10" fmla="*/ 3879851 h 6858000"/>
              <a:gd name="connsiteX11" fmla="*/ 0 w 2503488"/>
              <a:gd name="connsiteY11" fmla="*/ 3879851 h 6858000"/>
              <a:gd name="connsiteX12" fmla="*/ 0 w 2503488"/>
              <a:gd name="connsiteY12" fmla="*/ 3879850 h 6858000"/>
              <a:gd name="connsiteX13" fmla="*/ 1 w 2503488"/>
              <a:gd name="connsiteY13" fmla="*/ 3879850 h 6858000"/>
              <a:gd name="connsiteX14" fmla="*/ 1722691 w 2503488"/>
              <a:gd name="connsiteY14" fmla="*/ 900729 h 6858000"/>
              <a:gd name="connsiteX15" fmla="*/ 1766524 w 2503488"/>
              <a:gd name="connsiteY15" fmla="*/ 824925 h 6858000"/>
              <a:gd name="connsiteX16" fmla="*/ 1882775 w 2503488"/>
              <a:gd name="connsiteY16" fmla="*/ 623888 h 6858000"/>
              <a:gd name="connsiteX17" fmla="*/ 1902681 w 2503488"/>
              <a:gd name="connsiteY17" fmla="*/ 658455 h 6858000"/>
              <a:gd name="connsiteX18" fmla="*/ 1882775 w 2503488"/>
              <a:gd name="connsiteY18" fmla="*/ 623887 h 6858000"/>
              <a:gd name="connsiteX19" fmla="*/ 2241550 w 2503488"/>
              <a:gd name="connsiteY19"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503488 w 2503488"/>
              <a:gd name="connsiteY3" fmla="*/ 1701801 h 6858000"/>
              <a:gd name="connsiteX4" fmla="*/ 2503488 w 2503488"/>
              <a:gd name="connsiteY4" fmla="*/ 3879850 h 6858000"/>
              <a:gd name="connsiteX5" fmla="*/ 2503488 w 2503488"/>
              <a:gd name="connsiteY5" fmla="*/ 3879851 h 6858000"/>
              <a:gd name="connsiteX6" fmla="*/ 2503488 w 2503488"/>
              <a:gd name="connsiteY6" fmla="*/ 6057900 h 6858000"/>
              <a:gd name="connsiteX7" fmla="*/ 2039938 w 2503488"/>
              <a:gd name="connsiteY7" fmla="*/ 6858000 h 6858000"/>
              <a:gd name="connsiteX8" fmla="*/ 1722438 w 2503488"/>
              <a:gd name="connsiteY8" fmla="*/ 6858000 h 6858000"/>
              <a:gd name="connsiteX9" fmla="*/ 1 w 2503488"/>
              <a:gd name="connsiteY9" fmla="*/ 3879851 h 6858000"/>
              <a:gd name="connsiteX10" fmla="*/ 0 w 2503488"/>
              <a:gd name="connsiteY10" fmla="*/ 3879851 h 6858000"/>
              <a:gd name="connsiteX11" fmla="*/ 0 w 2503488"/>
              <a:gd name="connsiteY11" fmla="*/ 3879850 h 6858000"/>
              <a:gd name="connsiteX12" fmla="*/ 1 w 2503488"/>
              <a:gd name="connsiteY12" fmla="*/ 3879850 h 6858000"/>
              <a:gd name="connsiteX13" fmla="*/ 1722691 w 2503488"/>
              <a:gd name="connsiteY13" fmla="*/ 900729 h 6858000"/>
              <a:gd name="connsiteX14" fmla="*/ 1766524 w 2503488"/>
              <a:gd name="connsiteY14" fmla="*/ 824925 h 6858000"/>
              <a:gd name="connsiteX15" fmla="*/ 1882775 w 2503488"/>
              <a:gd name="connsiteY15" fmla="*/ 623888 h 6858000"/>
              <a:gd name="connsiteX16" fmla="*/ 1902681 w 2503488"/>
              <a:gd name="connsiteY16" fmla="*/ 658455 h 6858000"/>
              <a:gd name="connsiteX17" fmla="*/ 1882775 w 2503488"/>
              <a:gd name="connsiteY17" fmla="*/ 623887 h 6858000"/>
              <a:gd name="connsiteX18" fmla="*/ 2241550 w 2503488"/>
              <a:gd name="connsiteY18"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503488 w 2503488"/>
              <a:gd name="connsiteY3" fmla="*/ 3879850 h 6858000"/>
              <a:gd name="connsiteX4" fmla="*/ 2503488 w 2503488"/>
              <a:gd name="connsiteY4" fmla="*/ 3879851 h 6858000"/>
              <a:gd name="connsiteX5" fmla="*/ 2503488 w 2503488"/>
              <a:gd name="connsiteY5" fmla="*/ 6057900 h 6858000"/>
              <a:gd name="connsiteX6" fmla="*/ 2039938 w 2503488"/>
              <a:gd name="connsiteY6" fmla="*/ 6858000 h 6858000"/>
              <a:gd name="connsiteX7" fmla="*/ 1722438 w 2503488"/>
              <a:gd name="connsiteY7" fmla="*/ 6858000 h 6858000"/>
              <a:gd name="connsiteX8" fmla="*/ 1 w 2503488"/>
              <a:gd name="connsiteY8" fmla="*/ 3879851 h 6858000"/>
              <a:gd name="connsiteX9" fmla="*/ 0 w 2503488"/>
              <a:gd name="connsiteY9" fmla="*/ 3879851 h 6858000"/>
              <a:gd name="connsiteX10" fmla="*/ 0 w 2503488"/>
              <a:gd name="connsiteY10" fmla="*/ 3879850 h 6858000"/>
              <a:gd name="connsiteX11" fmla="*/ 1 w 2503488"/>
              <a:gd name="connsiteY11" fmla="*/ 3879850 h 6858000"/>
              <a:gd name="connsiteX12" fmla="*/ 1722691 w 2503488"/>
              <a:gd name="connsiteY12" fmla="*/ 900729 h 6858000"/>
              <a:gd name="connsiteX13" fmla="*/ 1766524 w 2503488"/>
              <a:gd name="connsiteY13" fmla="*/ 824925 h 6858000"/>
              <a:gd name="connsiteX14" fmla="*/ 1882775 w 2503488"/>
              <a:gd name="connsiteY14" fmla="*/ 623888 h 6858000"/>
              <a:gd name="connsiteX15" fmla="*/ 1902681 w 2503488"/>
              <a:gd name="connsiteY15" fmla="*/ 658455 h 6858000"/>
              <a:gd name="connsiteX16" fmla="*/ 1882775 w 2503488"/>
              <a:gd name="connsiteY16" fmla="*/ 623887 h 6858000"/>
              <a:gd name="connsiteX17" fmla="*/ 2241550 w 2503488"/>
              <a:gd name="connsiteY17"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1902681 w 2503488"/>
              <a:gd name="connsiteY14" fmla="*/ 658455 h 6858000"/>
              <a:gd name="connsiteX15" fmla="*/ 1882775 w 2503488"/>
              <a:gd name="connsiteY15" fmla="*/ 623887 h 6858000"/>
              <a:gd name="connsiteX16" fmla="*/ 2241550 w 2503488"/>
              <a:gd name="connsiteY16"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1882775 w 2503488"/>
              <a:gd name="connsiteY14" fmla="*/ 623887 h 6858000"/>
              <a:gd name="connsiteX15" fmla="*/ 2241550 w 2503488"/>
              <a:gd name="connsiteY15"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2241550 w 2503488"/>
              <a:gd name="connsiteY14"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2241550 w 2503488"/>
              <a:gd name="connsiteY13"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66524 w 2503488"/>
              <a:gd name="connsiteY11" fmla="*/ 824925 h 6858000"/>
              <a:gd name="connsiteX12" fmla="*/ 2241550 w 2503488"/>
              <a:gd name="connsiteY12"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3488" h="6858000">
                <a:moveTo>
                  <a:pt x="2241550" y="0"/>
                </a:moveTo>
                <a:lnTo>
                  <a:pt x="2503488" y="0"/>
                </a:lnTo>
                <a:lnTo>
                  <a:pt x="2503488" y="3879850"/>
                </a:lnTo>
                <a:lnTo>
                  <a:pt x="2503488" y="3879851"/>
                </a:lnTo>
                <a:lnTo>
                  <a:pt x="2503488" y="6057900"/>
                </a:lnTo>
                <a:lnTo>
                  <a:pt x="2039938" y="6858000"/>
                </a:lnTo>
                <a:lnTo>
                  <a:pt x="1722438" y="6858000"/>
                </a:lnTo>
                <a:lnTo>
                  <a:pt x="1" y="3879851"/>
                </a:lnTo>
                <a:lnTo>
                  <a:pt x="0" y="3879851"/>
                </a:lnTo>
                <a:lnTo>
                  <a:pt x="0" y="3879850"/>
                </a:lnTo>
                <a:lnTo>
                  <a:pt x="1" y="3879850"/>
                </a:lnTo>
                <a:lnTo>
                  <a:pt x="1766524" y="824925"/>
                </a:lnTo>
                <a:lnTo>
                  <a:pt x="2241550"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lvl="0"/>
            <a:endParaRPr lang="en-US"/>
          </a:p>
        </p:txBody>
      </p:sp>
      <p:sp>
        <p:nvSpPr>
          <p:cNvPr id="15" name="Freeform 6"/>
          <p:cNvSpPr>
            <a:spLocks/>
          </p:cNvSpPr>
          <p:nvPr/>
        </p:nvSpPr>
        <p:spPr bwMode="auto">
          <a:xfrm>
            <a:off x="4420553" y="0"/>
            <a:ext cx="4742180" cy="3877946"/>
          </a:xfrm>
          <a:custGeom>
            <a:avLst/>
            <a:gdLst>
              <a:gd name="connsiteX0" fmla="*/ 0 w 4742180"/>
              <a:gd name="connsiteY0" fmla="*/ 0 h 3877946"/>
              <a:gd name="connsiteX1" fmla="*/ 3760788 w 4742180"/>
              <a:gd name="connsiteY1" fmla="*/ 0 h 3877946"/>
              <a:gd name="connsiteX2" fmla="*/ 4120670 w 4742180"/>
              <a:gd name="connsiteY2" fmla="*/ 623361 h 3877946"/>
              <a:gd name="connsiteX3" fmla="*/ 4121467 w 4742180"/>
              <a:gd name="connsiteY3" fmla="*/ 621983 h 3877946"/>
              <a:gd name="connsiteX4" fmla="*/ 4742180 w 4742180"/>
              <a:gd name="connsiteY4" fmla="*/ 1699896 h 3877946"/>
              <a:gd name="connsiteX5" fmla="*/ 4742180 w 4742180"/>
              <a:gd name="connsiteY5" fmla="*/ 3877946 h 3877946"/>
              <a:gd name="connsiteX6" fmla="*/ 2238693 w 4742180"/>
              <a:gd name="connsiteY6" fmla="*/ 3877946 h 3877946"/>
              <a:gd name="connsiteX7" fmla="*/ 2238692 w 4742180"/>
              <a:gd name="connsiteY7" fmla="*/ 3877946 h 3877946"/>
              <a:gd name="connsiteX8" fmla="*/ 2238692 w 4742180"/>
              <a:gd name="connsiteY8" fmla="*/ 3877945 h 3877946"/>
              <a:gd name="connsiteX9" fmla="*/ 2238693 w 4742180"/>
              <a:gd name="connsiteY9" fmla="*/ 3877945 h 3877946"/>
              <a:gd name="connsiteX10" fmla="*/ 2238778 w 4742180"/>
              <a:gd name="connsiteY10" fmla="*/ 3877798 h 3877946"/>
              <a:gd name="connsiteX11" fmla="*/ 0 w 4742180"/>
              <a:gd name="connsiteY11" fmla="*/ 0 h 3877946"/>
              <a:gd name="connsiteX0" fmla="*/ 0 w 4742180"/>
              <a:gd name="connsiteY0" fmla="*/ 0 h 3877946"/>
              <a:gd name="connsiteX1" fmla="*/ 3760788 w 4742180"/>
              <a:gd name="connsiteY1" fmla="*/ 0 h 3877946"/>
              <a:gd name="connsiteX2" fmla="*/ 4120670 w 4742180"/>
              <a:gd name="connsiteY2" fmla="*/ 623361 h 3877946"/>
              <a:gd name="connsiteX3" fmla="*/ 4742180 w 4742180"/>
              <a:gd name="connsiteY3" fmla="*/ 1699896 h 3877946"/>
              <a:gd name="connsiteX4" fmla="*/ 4742180 w 4742180"/>
              <a:gd name="connsiteY4" fmla="*/ 3877946 h 3877946"/>
              <a:gd name="connsiteX5" fmla="*/ 2238693 w 4742180"/>
              <a:gd name="connsiteY5" fmla="*/ 3877946 h 3877946"/>
              <a:gd name="connsiteX6" fmla="*/ 2238692 w 4742180"/>
              <a:gd name="connsiteY6" fmla="*/ 3877946 h 3877946"/>
              <a:gd name="connsiteX7" fmla="*/ 2238692 w 4742180"/>
              <a:gd name="connsiteY7" fmla="*/ 3877945 h 3877946"/>
              <a:gd name="connsiteX8" fmla="*/ 2238693 w 4742180"/>
              <a:gd name="connsiteY8" fmla="*/ 3877945 h 3877946"/>
              <a:gd name="connsiteX9" fmla="*/ 2238778 w 4742180"/>
              <a:gd name="connsiteY9" fmla="*/ 3877798 h 3877946"/>
              <a:gd name="connsiteX10" fmla="*/ 0 w 4742180"/>
              <a:gd name="connsiteY10" fmla="*/ 0 h 3877946"/>
              <a:gd name="connsiteX0" fmla="*/ 0 w 4742180"/>
              <a:gd name="connsiteY0" fmla="*/ 0 h 3877946"/>
              <a:gd name="connsiteX1" fmla="*/ 3760788 w 4742180"/>
              <a:gd name="connsiteY1" fmla="*/ 0 h 3877946"/>
              <a:gd name="connsiteX2" fmla="*/ 4742180 w 4742180"/>
              <a:gd name="connsiteY2" fmla="*/ 1699896 h 3877946"/>
              <a:gd name="connsiteX3" fmla="*/ 4742180 w 4742180"/>
              <a:gd name="connsiteY3" fmla="*/ 3877946 h 3877946"/>
              <a:gd name="connsiteX4" fmla="*/ 2238693 w 4742180"/>
              <a:gd name="connsiteY4" fmla="*/ 3877946 h 3877946"/>
              <a:gd name="connsiteX5" fmla="*/ 2238692 w 4742180"/>
              <a:gd name="connsiteY5" fmla="*/ 3877946 h 3877946"/>
              <a:gd name="connsiteX6" fmla="*/ 2238692 w 4742180"/>
              <a:gd name="connsiteY6" fmla="*/ 3877945 h 3877946"/>
              <a:gd name="connsiteX7" fmla="*/ 2238693 w 4742180"/>
              <a:gd name="connsiteY7" fmla="*/ 3877945 h 3877946"/>
              <a:gd name="connsiteX8" fmla="*/ 2238778 w 4742180"/>
              <a:gd name="connsiteY8" fmla="*/ 3877798 h 3877946"/>
              <a:gd name="connsiteX9" fmla="*/ 0 w 4742180"/>
              <a:gd name="connsiteY9" fmla="*/ 0 h 387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2180" h="3877946">
                <a:moveTo>
                  <a:pt x="0" y="0"/>
                </a:moveTo>
                <a:lnTo>
                  <a:pt x="3760788" y="0"/>
                </a:lnTo>
                <a:lnTo>
                  <a:pt x="4742180" y="1699896"/>
                </a:lnTo>
                <a:lnTo>
                  <a:pt x="4742180" y="3877946"/>
                </a:lnTo>
                <a:lnTo>
                  <a:pt x="2238693" y="3877946"/>
                </a:lnTo>
                <a:lnTo>
                  <a:pt x="2238692" y="3877946"/>
                </a:lnTo>
                <a:lnTo>
                  <a:pt x="2238692" y="3877945"/>
                </a:lnTo>
                <a:lnTo>
                  <a:pt x="2238693" y="3877945"/>
                </a:lnTo>
                <a:cubicBezTo>
                  <a:pt x="2238721" y="3877896"/>
                  <a:pt x="2238750" y="3877847"/>
                  <a:pt x="2238778" y="3877798"/>
                </a:cubicBezTo>
                <a:lnTo>
                  <a:pt x="0" y="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lvl="0"/>
            <a:endParaRPr lang="en-US"/>
          </a:p>
        </p:txBody>
      </p:sp>
      <p:sp>
        <p:nvSpPr>
          <p:cNvPr id="8" name="Freeform 6"/>
          <p:cNvSpPr>
            <a:spLocks/>
          </p:cNvSpPr>
          <p:nvPr/>
        </p:nvSpPr>
        <p:spPr bwMode="auto">
          <a:xfrm>
            <a:off x="6661150" y="623888"/>
            <a:ext cx="2503488" cy="3255963"/>
          </a:xfrm>
          <a:custGeom>
            <a:avLst/>
            <a:gdLst>
              <a:gd name="T0" fmla="*/ 0 w 1577"/>
              <a:gd name="T1" fmla="*/ 2051 h 2051"/>
              <a:gd name="T2" fmla="*/ 1577 w 1577"/>
              <a:gd name="T3" fmla="*/ 2051 h 2051"/>
              <a:gd name="T4" fmla="*/ 1577 w 1577"/>
              <a:gd name="T5" fmla="*/ 679 h 2051"/>
              <a:gd name="T6" fmla="*/ 1186 w 1577"/>
              <a:gd name="T7" fmla="*/ 0 h 2051"/>
              <a:gd name="T8" fmla="*/ 0 w 1577"/>
              <a:gd name="T9" fmla="*/ 2051 h 2051"/>
            </a:gdLst>
            <a:ahLst/>
            <a:cxnLst>
              <a:cxn ang="0">
                <a:pos x="T0" y="T1"/>
              </a:cxn>
              <a:cxn ang="0">
                <a:pos x="T2" y="T3"/>
              </a:cxn>
              <a:cxn ang="0">
                <a:pos x="T4" y="T5"/>
              </a:cxn>
              <a:cxn ang="0">
                <a:pos x="T6" y="T7"/>
              </a:cxn>
              <a:cxn ang="0">
                <a:pos x="T8" y="T9"/>
              </a:cxn>
            </a:cxnLst>
            <a:rect l="0" t="0" r="r" b="b"/>
            <a:pathLst>
              <a:path w="1577" h="2051">
                <a:moveTo>
                  <a:pt x="0" y="2051"/>
                </a:moveTo>
                <a:lnTo>
                  <a:pt x="1577" y="2051"/>
                </a:lnTo>
                <a:lnTo>
                  <a:pt x="1577" y="679"/>
                </a:lnTo>
                <a:lnTo>
                  <a:pt x="1186" y="0"/>
                </a:lnTo>
                <a:lnTo>
                  <a:pt x="0" y="2051"/>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6960265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2648584"/>
            <a:ext cx="5667534" cy="1470025"/>
          </a:xfrm>
        </p:spPr>
        <p:txBody>
          <a:bodyPr anchor="b"/>
          <a:lstStyle>
            <a:lvl1pPr>
              <a:defRPr sz="400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67506" y="4161551"/>
            <a:ext cx="5669280" cy="488157"/>
          </a:xfrm>
        </p:spPr>
        <p:txBody>
          <a:bodyPr anchor="t"/>
          <a:lstStyle>
            <a:lvl1pPr marL="0" indent="0" algn="l">
              <a:buNone/>
              <a:defRPr sz="28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65" name="Text Placeholder 64"/>
          <p:cNvSpPr>
            <a:spLocks noGrp="1"/>
          </p:cNvSpPr>
          <p:nvPr>
            <p:ph type="body" sz="quarter" idx="10" hasCustomPrompt="1"/>
          </p:nvPr>
        </p:nvSpPr>
        <p:spPr>
          <a:xfrm>
            <a:off x="367506" y="4673918"/>
            <a:ext cx="5669280" cy="345122"/>
          </a:xfrm>
        </p:spPr>
        <p:txBody>
          <a:bodyPr>
            <a:noAutofit/>
          </a:bodyPr>
          <a:lstStyle>
            <a:lvl1pPr marL="0" indent="0">
              <a:buNone/>
              <a:defRPr b="0">
                <a:solidFill>
                  <a:schemeClr val="tx1"/>
                </a:solidFill>
              </a:defRPr>
            </a:lvl1pPr>
          </a:lstStyle>
          <a:p>
            <a:pPr lvl="0"/>
            <a:r>
              <a:rPr lang="en-US" b="0" dirty="0"/>
              <a:t>Date</a:t>
            </a:r>
            <a:endParaRPr lang="en-US" dirty="0"/>
          </a:p>
        </p:txBody>
      </p:sp>
      <p:grpSp>
        <p:nvGrpSpPr>
          <p:cNvPr id="30" name="Group 29"/>
          <p:cNvGrpSpPr/>
          <p:nvPr/>
        </p:nvGrpSpPr>
        <p:grpSpPr>
          <a:xfrm>
            <a:off x="374651" y="6029325"/>
            <a:ext cx="2054224" cy="403225"/>
            <a:chOff x="374651" y="6029325"/>
            <a:chExt cx="2054224" cy="403225"/>
          </a:xfrm>
        </p:grpSpPr>
        <p:sp>
          <p:nvSpPr>
            <p:cNvPr id="28"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7"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6"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grpSp>
    </p:spTree>
    <p:extLst>
      <p:ext uri="{BB962C8B-B14F-4D97-AF65-F5344CB8AC3E}">
        <p14:creationId xmlns:p14="http://schemas.microsoft.com/office/powerpoint/2010/main" val="358217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4069080" cy="3805238"/>
          </a:xfrm>
        </p:spPr>
        <p:txBody>
          <a:bodyPr vert="horz" lIns="0" tIns="0" rIns="0" bIns="0" rtlCol="0">
            <a:noAutofit/>
          </a:bodyPr>
          <a:lstStyle>
            <a:lvl1pPr>
              <a:defRPr lang="en-US" sz="1800" b="0" noProof="0" dirty="0" smtClean="0">
                <a:solidFill>
                  <a:schemeClr val="tx1"/>
                </a:solidFill>
              </a:defRPr>
            </a:lvl1pPr>
            <a:lvl2pPr>
              <a:defRPr lang="en-US" sz="1600" noProof="0" dirty="0" smtClean="0"/>
            </a:lvl2pPr>
            <a:lvl3pPr>
              <a:defRPr lang="en-US" sz="1600" noProof="0" dirty="0" smtClean="0"/>
            </a:lvl3pPr>
            <a:lvl4pPr>
              <a:defRPr lang="en-US" sz="1400" noProof="0" dirty="0" smtClean="0"/>
            </a:lvl4pPr>
            <a:lvl5pPr>
              <a:defRPr lang="en-US" sz="14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noProof="0"/>
              <a:pPr>
                <a:defRPr/>
              </a:pPr>
              <a:t>‹#›</a:t>
            </a:fld>
            <a:endParaRPr lang="en-US" noProof="0" dirty="0"/>
          </a:p>
        </p:txBody>
      </p:sp>
      <p:sp>
        <p:nvSpPr>
          <p:cNvPr id="7" name="Content Placeholder 6"/>
          <p:cNvSpPr>
            <a:spLocks noGrp="1"/>
          </p:cNvSpPr>
          <p:nvPr>
            <p:ph sz="quarter" idx="16"/>
          </p:nvPr>
        </p:nvSpPr>
        <p:spPr>
          <a:xfrm>
            <a:off x="4700207" y="2330450"/>
            <a:ext cx="4069080" cy="3805238"/>
          </a:xfrm>
        </p:spPr>
        <p:txBody>
          <a:bodyPr vert="horz" lIns="0" tIns="0" rIns="0" bIns="0" rtlCol="0">
            <a:noAutofit/>
          </a:bodyPr>
          <a:lstStyle>
            <a:lvl1pPr>
              <a:defRPr lang="en-US" sz="1800" b="0" dirty="0" smtClean="0">
                <a:solidFill>
                  <a:schemeClr val="tx1"/>
                </a:solidFill>
              </a:defRPr>
            </a:lvl1pPr>
            <a:lvl2pPr>
              <a:defRPr lang="en-US" sz="1600" dirty="0" smtClean="0"/>
            </a:lvl2pPr>
            <a:lvl3pPr>
              <a:defRPr lang="en-US" sz="1600" dirty="0" smtClean="0"/>
            </a:lvl3pPr>
            <a:lvl4pPr>
              <a:defRPr lang="en-US" sz="1400" dirty="0" smtClean="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46051"/>
            <a:ext cx="4069080" cy="556634"/>
          </a:xfrm>
          <a:prstGeom prst="rect">
            <a:avLst/>
          </a:prstGeom>
          <a:solidFill>
            <a:schemeClr val="accent2"/>
          </a:solidFill>
        </p:spPr>
        <p:txBody>
          <a:bodyPr lIns="45720" tIns="45720" rIns="45720" bIns="45720" anchor="ctr"/>
          <a:lstStyle>
            <a:lvl1pPr marL="4763" indent="0" algn="ctr">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4700207" y="1646051"/>
            <a:ext cx="4069080" cy="556634"/>
          </a:xfrm>
          <a:prstGeom prst="rect">
            <a:avLst/>
          </a:prstGeom>
          <a:solidFill>
            <a:schemeClr val="accent2"/>
          </a:solidFill>
        </p:spPr>
        <p:txBody>
          <a:bodyPr lIns="45720" tIns="45720" rIns="45720" bIns="45720" anchor="ctr"/>
          <a:lstStyle>
            <a:lvl1pPr marL="0" indent="0" algn="ctr">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1962404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Color Background with 3 Columns">
    <p:bg>
      <p:bgPr>
        <a:solidFill>
          <a:schemeClr val="accent1"/>
        </a:solidFill>
        <a:effectLst/>
      </p:bgPr>
    </p:bg>
    <p:spTree>
      <p:nvGrpSpPr>
        <p:cNvPr id="1" name=""/>
        <p:cNvGrpSpPr/>
        <p:nvPr/>
      </p:nvGrpSpPr>
      <p:grpSpPr>
        <a:xfrm>
          <a:off x="0" y="0"/>
          <a:ext cx="0" cy="0"/>
          <a:chOff x="0" y="0"/>
          <a:chExt cx="0" cy="0"/>
        </a:xfrm>
      </p:grpSpPr>
      <p:sp>
        <p:nvSpPr>
          <p:cNvPr id="8" name="Freeform 783"/>
          <p:cNvSpPr>
            <a:spLocks/>
          </p:cNvSpPr>
          <p:nvPr userDrawn="1"/>
        </p:nvSpPr>
        <p:spPr bwMode="auto">
          <a:xfrm>
            <a:off x="8256901" y="5314384"/>
            <a:ext cx="897577" cy="1552352"/>
          </a:xfrm>
          <a:custGeom>
            <a:avLst/>
            <a:gdLst/>
            <a:ahLst/>
            <a:cxnLst/>
            <a:rect l="l" t="t" r="r" b="b"/>
            <a:pathLst>
              <a:path w="897577" h="1552352">
                <a:moveTo>
                  <a:pt x="897577" y="0"/>
                </a:moveTo>
                <a:lnTo>
                  <a:pt x="897577" y="917479"/>
                </a:lnTo>
                <a:lnTo>
                  <a:pt x="897577" y="917480"/>
                </a:lnTo>
                <a:lnTo>
                  <a:pt x="897577" y="1552352"/>
                </a:lnTo>
                <a:lnTo>
                  <a:pt x="736372" y="1552352"/>
                </a:lnTo>
                <a:lnTo>
                  <a:pt x="736371" y="1552352"/>
                </a:lnTo>
                <a:lnTo>
                  <a:pt x="0" y="1552352"/>
                </a:lnTo>
                <a:lnTo>
                  <a:pt x="368185" y="917480"/>
                </a:lnTo>
                <a:lnTo>
                  <a:pt x="368185" y="917480"/>
                </a:lnTo>
                <a:lnTo>
                  <a:pt x="368185" y="917480"/>
                </a:lnTo>
                <a:lnTo>
                  <a:pt x="368185" y="917479"/>
                </a:lnTo>
                <a:lnTo>
                  <a:pt x="368186" y="917479"/>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4D4D4F"/>
              </a:solidFill>
            </a:endParaRPr>
          </a:p>
        </p:txBody>
      </p:sp>
      <p:sp>
        <p:nvSpPr>
          <p:cNvPr id="2" name="Title 1"/>
          <p:cNvSpPr>
            <a:spLocks noGrp="1"/>
          </p:cNvSpPr>
          <p:nvPr>
            <p:ph type="title"/>
          </p:nvPr>
        </p:nvSpPr>
        <p:spPr>
          <a:xfrm>
            <a:off x="363538" y="629512"/>
            <a:ext cx="8526244" cy="347472"/>
          </a:xfrm>
        </p:spPr>
        <p:txBody>
          <a:bodyPr/>
          <a:lstStyle>
            <a:lvl1pPr>
              <a:defRPr baseline="0">
                <a:solidFill>
                  <a:schemeClr val="bg1"/>
                </a:solidFill>
              </a:defRPr>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2725102" cy="4343400"/>
          </a:xfrm>
        </p:spPr>
        <p:txBody>
          <a:bodyPr/>
          <a:lstStyle>
            <a:lvl1pPr marL="0" indent="0">
              <a:spcBef>
                <a:spcPts val="0"/>
              </a:spcBef>
              <a:spcAft>
                <a:spcPts val="600"/>
              </a:spcAft>
              <a:buClr>
                <a:schemeClr val="bg1"/>
              </a:buClr>
              <a:buFont typeface="Arial" panose="020B0604020202020204" pitchFamily="34" charset="0"/>
              <a:buChar char="​"/>
              <a:defRPr sz="1600" b="1">
                <a:solidFill>
                  <a:schemeClr val="bg1"/>
                </a:solidFill>
              </a:defRPr>
            </a:lvl1pPr>
            <a:lvl2pPr marL="233363" indent="-233363">
              <a:buClr>
                <a:schemeClr val="bg1"/>
              </a:buClr>
              <a:defRPr sz="1400">
                <a:solidFill>
                  <a:schemeClr val="bg1"/>
                </a:solidFill>
              </a:defRPr>
            </a:lvl2pPr>
            <a:lvl3pPr marL="457200" indent="-223838">
              <a:buClr>
                <a:schemeClr val="bg1"/>
              </a:buClr>
              <a:buFont typeface="Arial" panose="020B0604020202020204" pitchFamily="34" charset="0"/>
              <a:buChar char="»"/>
              <a:defRPr sz="1400">
                <a:solidFill>
                  <a:schemeClr val="bg1"/>
                </a:solidFill>
              </a:defRPr>
            </a:lvl3pPr>
            <a:lvl4pPr marL="690563" indent="-233363">
              <a:buClr>
                <a:schemeClr val="bg1"/>
              </a:buClr>
              <a:defRPr sz="1200">
                <a:solidFill>
                  <a:schemeClr val="bg1"/>
                </a:solidFill>
              </a:defRPr>
            </a:lvl4pPr>
            <a:lvl5pPr marL="974725" indent="-284163">
              <a:buClr>
                <a:schemeClr val="bg1"/>
              </a:buClr>
              <a:defRPr sz="1200">
                <a:solidFill>
                  <a:schemeClr val="bg1"/>
                </a:solidFill>
              </a:defRPr>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Content Placeholder 4"/>
          <p:cNvSpPr>
            <a:spLocks noGrp="1"/>
          </p:cNvSpPr>
          <p:nvPr>
            <p:ph sz="quarter" idx="17"/>
          </p:nvPr>
        </p:nvSpPr>
        <p:spPr>
          <a:xfrm>
            <a:off x="3217482" y="1206500"/>
            <a:ext cx="2724912" cy="4338638"/>
          </a:xfrm>
        </p:spPr>
        <p:txBody>
          <a:bodyPr/>
          <a:lstStyle>
            <a:lvl1pPr marL="0" indent="0">
              <a:spcBef>
                <a:spcPts val="0"/>
              </a:spcBef>
              <a:spcAft>
                <a:spcPts val="600"/>
              </a:spcAft>
              <a:buClr>
                <a:schemeClr val="bg1"/>
              </a:buClr>
              <a:buFont typeface="Arial" panose="020B0604020202020204" pitchFamily="34" charset="0"/>
              <a:buChar char="​"/>
              <a:defRPr sz="1600" b="1">
                <a:solidFill>
                  <a:schemeClr val="bg1"/>
                </a:solidFill>
              </a:defRPr>
            </a:lvl1pPr>
            <a:lvl2pPr marL="233363" indent="-233363">
              <a:buClr>
                <a:schemeClr val="bg1"/>
              </a:buClr>
              <a:defRPr sz="1400">
                <a:solidFill>
                  <a:schemeClr val="bg1"/>
                </a:solidFill>
              </a:defRPr>
            </a:lvl2pPr>
            <a:lvl3pPr marL="457200" indent="-223838">
              <a:buClr>
                <a:schemeClr val="bg1"/>
              </a:buClr>
              <a:defRPr sz="1400">
                <a:solidFill>
                  <a:schemeClr val="bg1"/>
                </a:solidFill>
              </a:defRPr>
            </a:lvl3pPr>
            <a:lvl4pPr marL="690563" indent="-233363">
              <a:buClr>
                <a:schemeClr val="bg1"/>
              </a:buClr>
              <a:defRPr sz="1200">
                <a:solidFill>
                  <a:schemeClr val="bg1"/>
                </a:solidFill>
              </a:defRPr>
            </a:lvl4pPr>
            <a:lvl5pPr marL="914400" indent="-223838">
              <a:buClr>
                <a:schemeClr val="bg1"/>
              </a:buCl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8"/>
          </p:nvPr>
        </p:nvSpPr>
        <p:spPr>
          <a:xfrm>
            <a:off x="6071235" y="1206500"/>
            <a:ext cx="2736850" cy="4357688"/>
          </a:xfrm>
        </p:spPr>
        <p:txBody>
          <a:bodyPr/>
          <a:lstStyle>
            <a:lvl1pPr marL="0" indent="0">
              <a:spcBef>
                <a:spcPts val="0"/>
              </a:spcBef>
              <a:spcAft>
                <a:spcPts val="600"/>
              </a:spcAft>
              <a:buClr>
                <a:schemeClr val="bg1"/>
              </a:buClr>
              <a:buFont typeface="Arial" panose="020B0604020202020204" pitchFamily="34" charset="0"/>
              <a:buChar char="​"/>
              <a:defRPr sz="1600" b="1">
                <a:solidFill>
                  <a:schemeClr val="bg1"/>
                </a:solidFill>
              </a:defRPr>
            </a:lvl1pPr>
            <a:lvl2pPr marL="233363" indent="-233363">
              <a:buClr>
                <a:schemeClr val="bg1"/>
              </a:buClr>
              <a:defRPr sz="1400">
                <a:solidFill>
                  <a:schemeClr val="bg1"/>
                </a:solidFill>
              </a:defRPr>
            </a:lvl2pPr>
            <a:lvl3pPr marL="457200" indent="-223838">
              <a:buClr>
                <a:schemeClr val="bg1"/>
              </a:buClr>
              <a:defRPr sz="1400">
                <a:solidFill>
                  <a:schemeClr val="bg1"/>
                </a:solidFill>
              </a:defRPr>
            </a:lvl3pPr>
            <a:lvl4pPr marL="690563" indent="-233363">
              <a:buClr>
                <a:schemeClr val="bg1"/>
              </a:buClr>
              <a:defRPr sz="1200">
                <a:solidFill>
                  <a:schemeClr val="bg1"/>
                </a:solidFill>
              </a:defRPr>
            </a:lvl4pPr>
            <a:lvl5pPr marL="914400" indent="-223838">
              <a:buClr>
                <a:schemeClr val="bg1"/>
              </a:buCl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647340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Freeform 3"/>
          <p:cNvSpPr/>
          <p:nvPr userDrawn="1"/>
        </p:nvSpPr>
        <p:spPr bwMode="auto">
          <a:xfrm>
            <a:off x="6661150" y="0"/>
            <a:ext cx="2503488" cy="6858000"/>
          </a:xfrm>
          <a:custGeom>
            <a:avLst/>
            <a:gdLst>
              <a:gd name="connsiteX0" fmla="*/ 2241550 w 2503488"/>
              <a:gd name="connsiteY0" fmla="*/ 0 h 6858000"/>
              <a:gd name="connsiteX1" fmla="*/ 2503488 w 2503488"/>
              <a:gd name="connsiteY1" fmla="*/ 0 h 6858000"/>
              <a:gd name="connsiteX2" fmla="*/ 2503488 w 2503488"/>
              <a:gd name="connsiteY2" fmla="*/ 1701800 h 6858000"/>
              <a:gd name="connsiteX3" fmla="*/ 2491822 w 2503488"/>
              <a:gd name="connsiteY3" fmla="*/ 1681541 h 6858000"/>
              <a:gd name="connsiteX4" fmla="*/ 2491822 w 2503488"/>
              <a:gd name="connsiteY4" fmla="*/ 1681542 h 6858000"/>
              <a:gd name="connsiteX5" fmla="*/ 2503488 w 2503488"/>
              <a:gd name="connsiteY5" fmla="*/ 1701801 h 6858000"/>
              <a:gd name="connsiteX6" fmla="*/ 2503488 w 2503488"/>
              <a:gd name="connsiteY6" fmla="*/ 3879850 h 6858000"/>
              <a:gd name="connsiteX7" fmla="*/ 2503488 w 2503488"/>
              <a:gd name="connsiteY7" fmla="*/ 3879851 h 6858000"/>
              <a:gd name="connsiteX8" fmla="*/ 2503488 w 2503488"/>
              <a:gd name="connsiteY8" fmla="*/ 6057900 h 6858000"/>
              <a:gd name="connsiteX9" fmla="*/ 2039938 w 2503488"/>
              <a:gd name="connsiteY9" fmla="*/ 6858000 h 6858000"/>
              <a:gd name="connsiteX10" fmla="*/ 1722438 w 2503488"/>
              <a:gd name="connsiteY10" fmla="*/ 6858000 h 6858000"/>
              <a:gd name="connsiteX11" fmla="*/ 1 w 2503488"/>
              <a:gd name="connsiteY11" fmla="*/ 3879851 h 6858000"/>
              <a:gd name="connsiteX12" fmla="*/ 0 w 2503488"/>
              <a:gd name="connsiteY12" fmla="*/ 3879851 h 6858000"/>
              <a:gd name="connsiteX13" fmla="*/ 0 w 2503488"/>
              <a:gd name="connsiteY13" fmla="*/ 3879850 h 6858000"/>
              <a:gd name="connsiteX14" fmla="*/ 1 w 2503488"/>
              <a:gd name="connsiteY14" fmla="*/ 3879850 h 6858000"/>
              <a:gd name="connsiteX15" fmla="*/ 1722691 w 2503488"/>
              <a:gd name="connsiteY15" fmla="*/ 900729 h 6858000"/>
              <a:gd name="connsiteX16" fmla="*/ 1766524 w 2503488"/>
              <a:gd name="connsiteY16" fmla="*/ 824925 h 6858000"/>
              <a:gd name="connsiteX17" fmla="*/ 1882775 w 2503488"/>
              <a:gd name="connsiteY17" fmla="*/ 623888 h 6858000"/>
              <a:gd name="connsiteX18" fmla="*/ 1902681 w 2503488"/>
              <a:gd name="connsiteY18" fmla="*/ 658455 h 6858000"/>
              <a:gd name="connsiteX19" fmla="*/ 1882775 w 2503488"/>
              <a:gd name="connsiteY19" fmla="*/ 623887 h 6858000"/>
              <a:gd name="connsiteX20" fmla="*/ 2241550 w 2503488"/>
              <a:gd name="connsiteY20"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491822 w 2503488"/>
              <a:gd name="connsiteY3" fmla="*/ 1681541 h 6858000"/>
              <a:gd name="connsiteX4" fmla="*/ 2503488 w 2503488"/>
              <a:gd name="connsiteY4" fmla="*/ 1701801 h 6858000"/>
              <a:gd name="connsiteX5" fmla="*/ 2503488 w 2503488"/>
              <a:gd name="connsiteY5" fmla="*/ 3879850 h 6858000"/>
              <a:gd name="connsiteX6" fmla="*/ 2503488 w 2503488"/>
              <a:gd name="connsiteY6" fmla="*/ 3879851 h 6858000"/>
              <a:gd name="connsiteX7" fmla="*/ 2503488 w 2503488"/>
              <a:gd name="connsiteY7" fmla="*/ 6057900 h 6858000"/>
              <a:gd name="connsiteX8" fmla="*/ 2039938 w 2503488"/>
              <a:gd name="connsiteY8" fmla="*/ 6858000 h 6858000"/>
              <a:gd name="connsiteX9" fmla="*/ 1722438 w 2503488"/>
              <a:gd name="connsiteY9" fmla="*/ 6858000 h 6858000"/>
              <a:gd name="connsiteX10" fmla="*/ 1 w 2503488"/>
              <a:gd name="connsiteY10" fmla="*/ 3879851 h 6858000"/>
              <a:gd name="connsiteX11" fmla="*/ 0 w 2503488"/>
              <a:gd name="connsiteY11" fmla="*/ 3879851 h 6858000"/>
              <a:gd name="connsiteX12" fmla="*/ 0 w 2503488"/>
              <a:gd name="connsiteY12" fmla="*/ 3879850 h 6858000"/>
              <a:gd name="connsiteX13" fmla="*/ 1 w 2503488"/>
              <a:gd name="connsiteY13" fmla="*/ 3879850 h 6858000"/>
              <a:gd name="connsiteX14" fmla="*/ 1722691 w 2503488"/>
              <a:gd name="connsiteY14" fmla="*/ 900729 h 6858000"/>
              <a:gd name="connsiteX15" fmla="*/ 1766524 w 2503488"/>
              <a:gd name="connsiteY15" fmla="*/ 824925 h 6858000"/>
              <a:gd name="connsiteX16" fmla="*/ 1882775 w 2503488"/>
              <a:gd name="connsiteY16" fmla="*/ 623888 h 6858000"/>
              <a:gd name="connsiteX17" fmla="*/ 1902681 w 2503488"/>
              <a:gd name="connsiteY17" fmla="*/ 658455 h 6858000"/>
              <a:gd name="connsiteX18" fmla="*/ 1882775 w 2503488"/>
              <a:gd name="connsiteY18" fmla="*/ 623887 h 6858000"/>
              <a:gd name="connsiteX19" fmla="*/ 2241550 w 2503488"/>
              <a:gd name="connsiteY19"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503488 w 2503488"/>
              <a:gd name="connsiteY3" fmla="*/ 1701801 h 6858000"/>
              <a:gd name="connsiteX4" fmla="*/ 2503488 w 2503488"/>
              <a:gd name="connsiteY4" fmla="*/ 3879850 h 6858000"/>
              <a:gd name="connsiteX5" fmla="*/ 2503488 w 2503488"/>
              <a:gd name="connsiteY5" fmla="*/ 3879851 h 6858000"/>
              <a:gd name="connsiteX6" fmla="*/ 2503488 w 2503488"/>
              <a:gd name="connsiteY6" fmla="*/ 6057900 h 6858000"/>
              <a:gd name="connsiteX7" fmla="*/ 2039938 w 2503488"/>
              <a:gd name="connsiteY7" fmla="*/ 6858000 h 6858000"/>
              <a:gd name="connsiteX8" fmla="*/ 1722438 w 2503488"/>
              <a:gd name="connsiteY8" fmla="*/ 6858000 h 6858000"/>
              <a:gd name="connsiteX9" fmla="*/ 1 w 2503488"/>
              <a:gd name="connsiteY9" fmla="*/ 3879851 h 6858000"/>
              <a:gd name="connsiteX10" fmla="*/ 0 w 2503488"/>
              <a:gd name="connsiteY10" fmla="*/ 3879851 h 6858000"/>
              <a:gd name="connsiteX11" fmla="*/ 0 w 2503488"/>
              <a:gd name="connsiteY11" fmla="*/ 3879850 h 6858000"/>
              <a:gd name="connsiteX12" fmla="*/ 1 w 2503488"/>
              <a:gd name="connsiteY12" fmla="*/ 3879850 h 6858000"/>
              <a:gd name="connsiteX13" fmla="*/ 1722691 w 2503488"/>
              <a:gd name="connsiteY13" fmla="*/ 900729 h 6858000"/>
              <a:gd name="connsiteX14" fmla="*/ 1766524 w 2503488"/>
              <a:gd name="connsiteY14" fmla="*/ 824925 h 6858000"/>
              <a:gd name="connsiteX15" fmla="*/ 1882775 w 2503488"/>
              <a:gd name="connsiteY15" fmla="*/ 623888 h 6858000"/>
              <a:gd name="connsiteX16" fmla="*/ 1902681 w 2503488"/>
              <a:gd name="connsiteY16" fmla="*/ 658455 h 6858000"/>
              <a:gd name="connsiteX17" fmla="*/ 1882775 w 2503488"/>
              <a:gd name="connsiteY17" fmla="*/ 623887 h 6858000"/>
              <a:gd name="connsiteX18" fmla="*/ 2241550 w 2503488"/>
              <a:gd name="connsiteY18"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503488 w 2503488"/>
              <a:gd name="connsiteY3" fmla="*/ 3879850 h 6858000"/>
              <a:gd name="connsiteX4" fmla="*/ 2503488 w 2503488"/>
              <a:gd name="connsiteY4" fmla="*/ 3879851 h 6858000"/>
              <a:gd name="connsiteX5" fmla="*/ 2503488 w 2503488"/>
              <a:gd name="connsiteY5" fmla="*/ 6057900 h 6858000"/>
              <a:gd name="connsiteX6" fmla="*/ 2039938 w 2503488"/>
              <a:gd name="connsiteY6" fmla="*/ 6858000 h 6858000"/>
              <a:gd name="connsiteX7" fmla="*/ 1722438 w 2503488"/>
              <a:gd name="connsiteY7" fmla="*/ 6858000 h 6858000"/>
              <a:gd name="connsiteX8" fmla="*/ 1 w 2503488"/>
              <a:gd name="connsiteY8" fmla="*/ 3879851 h 6858000"/>
              <a:gd name="connsiteX9" fmla="*/ 0 w 2503488"/>
              <a:gd name="connsiteY9" fmla="*/ 3879851 h 6858000"/>
              <a:gd name="connsiteX10" fmla="*/ 0 w 2503488"/>
              <a:gd name="connsiteY10" fmla="*/ 3879850 h 6858000"/>
              <a:gd name="connsiteX11" fmla="*/ 1 w 2503488"/>
              <a:gd name="connsiteY11" fmla="*/ 3879850 h 6858000"/>
              <a:gd name="connsiteX12" fmla="*/ 1722691 w 2503488"/>
              <a:gd name="connsiteY12" fmla="*/ 900729 h 6858000"/>
              <a:gd name="connsiteX13" fmla="*/ 1766524 w 2503488"/>
              <a:gd name="connsiteY13" fmla="*/ 824925 h 6858000"/>
              <a:gd name="connsiteX14" fmla="*/ 1882775 w 2503488"/>
              <a:gd name="connsiteY14" fmla="*/ 623888 h 6858000"/>
              <a:gd name="connsiteX15" fmla="*/ 1902681 w 2503488"/>
              <a:gd name="connsiteY15" fmla="*/ 658455 h 6858000"/>
              <a:gd name="connsiteX16" fmla="*/ 1882775 w 2503488"/>
              <a:gd name="connsiteY16" fmla="*/ 623887 h 6858000"/>
              <a:gd name="connsiteX17" fmla="*/ 2241550 w 2503488"/>
              <a:gd name="connsiteY17"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1902681 w 2503488"/>
              <a:gd name="connsiteY14" fmla="*/ 658455 h 6858000"/>
              <a:gd name="connsiteX15" fmla="*/ 1882775 w 2503488"/>
              <a:gd name="connsiteY15" fmla="*/ 623887 h 6858000"/>
              <a:gd name="connsiteX16" fmla="*/ 2241550 w 2503488"/>
              <a:gd name="connsiteY16"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1882775 w 2503488"/>
              <a:gd name="connsiteY14" fmla="*/ 623887 h 6858000"/>
              <a:gd name="connsiteX15" fmla="*/ 2241550 w 2503488"/>
              <a:gd name="connsiteY15"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2241550 w 2503488"/>
              <a:gd name="connsiteY14"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2241550 w 2503488"/>
              <a:gd name="connsiteY13"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66524 w 2503488"/>
              <a:gd name="connsiteY11" fmla="*/ 824925 h 6858000"/>
              <a:gd name="connsiteX12" fmla="*/ 2241550 w 2503488"/>
              <a:gd name="connsiteY12"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3488" h="6858000">
                <a:moveTo>
                  <a:pt x="2241550" y="0"/>
                </a:moveTo>
                <a:lnTo>
                  <a:pt x="2503488" y="0"/>
                </a:lnTo>
                <a:lnTo>
                  <a:pt x="2503488" y="3879850"/>
                </a:lnTo>
                <a:lnTo>
                  <a:pt x="2503488" y="3879851"/>
                </a:lnTo>
                <a:lnTo>
                  <a:pt x="2503488" y="6057900"/>
                </a:lnTo>
                <a:lnTo>
                  <a:pt x="2039938" y="6858000"/>
                </a:lnTo>
                <a:lnTo>
                  <a:pt x="1722438" y="6858000"/>
                </a:lnTo>
                <a:lnTo>
                  <a:pt x="1" y="3879851"/>
                </a:lnTo>
                <a:lnTo>
                  <a:pt x="0" y="3879851"/>
                </a:lnTo>
                <a:lnTo>
                  <a:pt x="0" y="3879850"/>
                </a:lnTo>
                <a:lnTo>
                  <a:pt x="1" y="3879850"/>
                </a:lnTo>
                <a:lnTo>
                  <a:pt x="1766524" y="824925"/>
                </a:lnTo>
                <a:lnTo>
                  <a:pt x="2241550"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5" name="Freeform 6"/>
          <p:cNvSpPr>
            <a:spLocks/>
          </p:cNvSpPr>
          <p:nvPr userDrawn="1"/>
        </p:nvSpPr>
        <p:spPr bwMode="auto">
          <a:xfrm>
            <a:off x="4420553" y="0"/>
            <a:ext cx="4742180" cy="3877946"/>
          </a:xfrm>
          <a:custGeom>
            <a:avLst/>
            <a:gdLst>
              <a:gd name="connsiteX0" fmla="*/ 0 w 4742180"/>
              <a:gd name="connsiteY0" fmla="*/ 0 h 3877946"/>
              <a:gd name="connsiteX1" fmla="*/ 3760788 w 4742180"/>
              <a:gd name="connsiteY1" fmla="*/ 0 h 3877946"/>
              <a:gd name="connsiteX2" fmla="*/ 4120670 w 4742180"/>
              <a:gd name="connsiteY2" fmla="*/ 623361 h 3877946"/>
              <a:gd name="connsiteX3" fmla="*/ 4121467 w 4742180"/>
              <a:gd name="connsiteY3" fmla="*/ 621983 h 3877946"/>
              <a:gd name="connsiteX4" fmla="*/ 4742180 w 4742180"/>
              <a:gd name="connsiteY4" fmla="*/ 1699896 h 3877946"/>
              <a:gd name="connsiteX5" fmla="*/ 4742180 w 4742180"/>
              <a:gd name="connsiteY5" fmla="*/ 3877946 h 3877946"/>
              <a:gd name="connsiteX6" fmla="*/ 2238693 w 4742180"/>
              <a:gd name="connsiteY6" fmla="*/ 3877946 h 3877946"/>
              <a:gd name="connsiteX7" fmla="*/ 2238692 w 4742180"/>
              <a:gd name="connsiteY7" fmla="*/ 3877946 h 3877946"/>
              <a:gd name="connsiteX8" fmla="*/ 2238692 w 4742180"/>
              <a:gd name="connsiteY8" fmla="*/ 3877945 h 3877946"/>
              <a:gd name="connsiteX9" fmla="*/ 2238693 w 4742180"/>
              <a:gd name="connsiteY9" fmla="*/ 3877945 h 3877946"/>
              <a:gd name="connsiteX10" fmla="*/ 2238778 w 4742180"/>
              <a:gd name="connsiteY10" fmla="*/ 3877798 h 3877946"/>
              <a:gd name="connsiteX11" fmla="*/ 0 w 4742180"/>
              <a:gd name="connsiteY11" fmla="*/ 0 h 3877946"/>
              <a:gd name="connsiteX0" fmla="*/ 0 w 4742180"/>
              <a:gd name="connsiteY0" fmla="*/ 0 h 3877946"/>
              <a:gd name="connsiteX1" fmla="*/ 3760788 w 4742180"/>
              <a:gd name="connsiteY1" fmla="*/ 0 h 3877946"/>
              <a:gd name="connsiteX2" fmla="*/ 4120670 w 4742180"/>
              <a:gd name="connsiteY2" fmla="*/ 623361 h 3877946"/>
              <a:gd name="connsiteX3" fmla="*/ 4742180 w 4742180"/>
              <a:gd name="connsiteY3" fmla="*/ 1699896 h 3877946"/>
              <a:gd name="connsiteX4" fmla="*/ 4742180 w 4742180"/>
              <a:gd name="connsiteY4" fmla="*/ 3877946 h 3877946"/>
              <a:gd name="connsiteX5" fmla="*/ 2238693 w 4742180"/>
              <a:gd name="connsiteY5" fmla="*/ 3877946 h 3877946"/>
              <a:gd name="connsiteX6" fmla="*/ 2238692 w 4742180"/>
              <a:gd name="connsiteY6" fmla="*/ 3877946 h 3877946"/>
              <a:gd name="connsiteX7" fmla="*/ 2238692 w 4742180"/>
              <a:gd name="connsiteY7" fmla="*/ 3877945 h 3877946"/>
              <a:gd name="connsiteX8" fmla="*/ 2238693 w 4742180"/>
              <a:gd name="connsiteY8" fmla="*/ 3877945 h 3877946"/>
              <a:gd name="connsiteX9" fmla="*/ 2238778 w 4742180"/>
              <a:gd name="connsiteY9" fmla="*/ 3877798 h 3877946"/>
              <a:gd name="connsiteX10" fmla="*/ 0 w 4742180"/>
              <a:gd name="connsiteY10" fmla="*/ 0 h 3877946"/>
              <a:gd name="connsiteX0" fmla="*/ 0 w 4742180"/>
              <a:gd name="connsiteY0" fmla="*/ 0 h 3877946"/>
              <a:gd name="connsiteX1" fmla="*/ 3760788 w 4742180"/>
              <a:gd name="connsiteY1" fmla="*/ 0 h 3877946"/>
              <a:gd name="connsiteX2" fmla="*/ 4742180 w 4742180"/>
              <a:gd name="connsiteY2" fmla="*/ 1699896 h 3877946"/>
              <a:gd name="connsiteX3" fmla="*/ 4742180 w 4742180"/>
              <a:gd name="connsiteY3" fmla="*/ 3877946 h 3877946"/>
              <a:gd name="connsiteX4" fmla="*/ 2238693 w 4742180"/>
              <a:gd name="connsiteY4" fmla="*/ 3877946 h 3877946"/>
              <a:gd name="connsiteX5" fmla="*/ 2238692 w 4742180"/>
              <a:gd name="connsiteY5" fmla="*/ 3877946 h 3877946"/>
              <a:gd name="connsiteX6" fmla="*/ 2238692 w 4742180"/>
              <a:gd name="connsiteY6" fmla="*/ 3877945 h 3877946"/>
              <a:gd name="connsiteX7" fmla="*/ 2238693 w 4742180"/>
              <a:gd name="connsiteY7" fmla="*/ 3877945 h 3877946"/>
              <a:gd name="connsiteX8" fmla="*/ 2238778 w 4742180"/>
              <a:gd name="connsiteY8" fmla="*/ 3877798 h 3877946"/>
              <a:gd name="connsiteX9" fmla="*/ 0 w 4742180"/>
              <a:gd name="connsiteY9" fmla="*/ 0 h 387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2180" h="3877946">
                <a:moveTo>
                  <a:pt x="0" y="0"/>
                </a:moveTo>
                <a:lnTo>
                  <a:pt x="3760788" y="0"/>
                </a:lnTo>
                <a:lnTo>
                  <a:pt x="4742180" y="1699896"/>
                </a:lnTo>
                <a:lnTo>
                  <a:pt x="4742180" y="3877946"/>
                </a:lnTo>
                <a:lnTo>
                  <a:pt x="2238693" y="3877946"/>
                </a:lnTo>
                <a:lnTo>
                  <a:pt x="2238692" y="3877946"/>
                </a:lnTo>
                <a:lnTo>
                  <a:pt x="2238692" y="3877945"/>
                </a:lnTo>
                <a:lnTo>
                  <a:pt x="2238693" y="3877945"/>
                </a:lnTo>
                <a:cubicBezTo>
                  <a:pt x="2238721" y="3877896"/>
                  <a:pt x="2238750" y="3877847"/>
                  <a:pt x="2238778" y="3877798"/>
                </a:cubicBezTo>
                <a:lnTo>
                  <a:pt x="0" y="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8" name="Freeform 6"/>
          <p:cNvSpPr>
            <a:spLocks/>
          </p:cNvSpPr>
          <p:nvPr userDrawn="1"/>
        </p:nvSpPr>
        <p:spPr bwMode="auto">
          <a:xfrm>
            <a:off x="6661150" y="623888"/>
            <a:ext cx="2503488" cy="3255963"/>
          </a:xfrm>
          <a:custGeom>
            <a:avLst/>
            <a:gdLst>
              <a:gd name="T0" fmla="*/ 0 w 1577"/>
              <a:gd name="T1" fmla="*/ 2051 h 2051"/>
              <a:gd name="T2" fmla="*/ 1577 w 1577"/>
              <a:gd name="T3" fmla="*/ 2051 h 2051"/>
              <a:gd name="T4" fmla="*/ 1577 w 1577"/>
              <a:gd name="T5" fmla="*/ 679 h 2051"/>
              <a:gd name="T6" fmla="*/ 1186 w 1577"/>
              <a:gd name="T7" fmla="*/ 0 h 2051"/>
              <a:gd name="T8" fmla="*/ 0 w 1577"/>
              <a:gd name="T9" fmla="*/ 2051 h 2051"/>
            </a:gdLst>
            <a:ahLst/>
            <a:cxnLst>
              <a:cxn ang="0">
                <a:pos x="T0" y="T1"/>
              </a:cxn>
              <a:cxn ang="0">
                <a:pos x="T2" y="T3"/>
              </a:cxn>
              <a:cxn ang="0">
                <a:pos x="T4" y="T5"/>
              </a:cxn>
              <a:cxn ang="0">
                <a:pos x="T6" y="T7"/>
              </a:cxn>
              <a:cxn ang="0">
                <a:pos x="T8" y="T9"/>
              </a:cxn>
            </a:cxnLst>
            <a:rect l="0" t="0" r="r" b="b"/>
            <a:pathLst>
              <a:path w="1577" h="2051">
                <a:moveTo>
                  <a:pt x="0" y="2051"/>
                </a:moveTo>
                <a:lnTo>
                  <a:pt x="1577" y="2051"/>
                </a:lnTo>
                <a:lnTo>
                  <a:pt x="1577" y="679"/>
                </a:lnTo>
                <a:lnTo>
                  <a:pt x="1186" y="0"/>
                </a:lnTo>
                <a:lnTo>
                  <a:pt x="0" y="2051"/>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72825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2648584"/>
            <a:ext cx="5667534" cy="1470025"/>
          </a:xfrm>
        </p:spPr>
        <p:txBody>
          <a:bodyPr anchor="b"/>
          <a:lstStyle>
            <a:lvl1pPr>
              <a:defRPr sz="400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67506" y="4161551"/>
            <a:ext cx="5669280" cy="488157"/>
          </a:xfrm>
        </p:spPr>
        <p:txBody>
          <a:bodyPr anchor="t"/>
          <a:lstStyle>
            <a:lvl1pPr marL="0" indent="0" algn="l">
              <a:buNone/>
              <a:defRPr sz="28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65" name="Text Placeholder 64"/>
          <p:cNvSpPr>
            <a:spLocks noGrp="1"/>
          </p:cNvSpPr>
          <p:nvPr>
            <p:ph type="body" sz="quarter" idx="10" hasCustomPrompt="1"/>
          </p:nvPr>
        </p:nvSpPr>
        <p:spPr>
          <a:xfrm>
            <a:off x="367506" y="4673918"/>
            <a:ext cx="5669280" cy="345122"/>
          </a:xfrm>
        </p:spPr>
        <p:txBody>
          <a:bodyPr>
            <a:noAutofit/>
          </a:bodyPr>
          <a:lstStyle>
            <a:lvl1pPr marL="0" indent="0">
              <a:buNone/>
              <a:defRPr b="0">
                <a:solidFill>
                  <a:schemeClr val="tx1"/>
                </a:solidFill>
              </a:defRPr>
            </a:lvl1pPr>
          </a:lstStyle>
          <a:p>
            <a:pPr lvl="0"/>
            <a:r>
              <a:rPr lang="en-US" b="0" dirty="0"/>
              <a:t>Date</a:t>
            </a:r>
            <a:endParaRPr lang="en-US" dirty="0"/>
          </a:p>
        </p:txBody>
      </p:sp>
      <p:grpSp>
        <p:nvGrpSpPr>
          <p:cNvPr id="31" name="Group 30"/>
          <p:cNvGrpSpPr/>
          <p:nvPr userDrawn="1"/>
        </p:nvGrpSpPr>
        <p:grpSpPr>
          <a:xfrm>
            <a:off x="374651" y="6029325"/>
            <a:ext cx="2054224" cy="403225"/>
            <a:chOff x="374651" y="6029325"/>
            <a:chExt cx="2054224" cy="403225"/>
          </a:xfrm>
        </p:grpSpPr>
        <p:sp>
          <p:nvSpPr>
            <p:cNvPr id="32"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3"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4" name="Freeform 33"/>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5" name="Freeform 34"/>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6" name="Freeform 35"/>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7" name="Freeform 36"/>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8" name="Freeform 37"/>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9" name="Freeform 38"/>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0"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1"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2"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3"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4"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5"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6"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7"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8"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862376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1" name="Text Placeholder 2"/>
          <p:cNvSpPr>
            <a:spLocks noGrp="1"/>
          </p:cNvSpPr>
          <p:nvPr>
            <p:ph type="body" sz="quarter" idx="24"/>
            <p:custDataLst>
              <p:tags r:id="rId1"/>
            </p:custDataLst>
          </p:nvPr>
        </p:nvSpPr>
        <p:spPr>
          <a:xfrm>
            <a:off x="366712" y="1290279"/>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2" name="Text Placeholder 2"/>
          <p:cNvSpPr>
            <a:spLocks noGrp="1"/>
          </p:cNvSpPr>
          <p:nvPr>
            <p:ph type="body" sz="quarter" idx="25"/>
            <p:custDataLst>
              <p:tags r:id="rId2"/>
            </p:custDataLst>
          </p:nvPr>
        </p:nvSpPr>
        <p:spPr>
          <a:xfrm>
            <a:off x="366712" y="1933675"/>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3" name="Text Placeholder 2"/>
          <p:cNvSpPr>
            <a:spLocks noGrp="1"/>
          </p:cNvSpPr>
          <p:nvPr>
            <p:ph type="body" sz="quarter" idx="26"/>
            <p:custDataLst>
              <p:tags r:id="rId3"/>
            </p:custDataLst>
          </p:nvPr>
        </p:nvSpPr>
        <p:spPr>
          <a:xfrm>
            <a:off x="366712" y="2577071"/>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4" name="Text Placeholder 2"/>
          <p:cNvSpPr>
            <a:spLocks noGrp="1"/>
          </p:cNvSpPr>
          <p:nvPr>
            <p:ph type="body" sz="quarter" idx="27"/>
            <p:custDataLst>
              <p:tags r:id="rId4"/>
            </p:custDataLst>
          </p:nvPr>
        </p:nvSpPr>
        <p:spPr>
          <a:xfrm>
            <a:off x="366712" y="3220467"/>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5" name="Text Placeholder 2"/>
          <p:cNvSpPr>
            <a:spLocks noGrp="1"/>
          </p:cNvSpPr>
          <p:nvPr>
            <p:ph type="body" sz="quarter" idx="28"/>
            <p:custDataLst>
              <p:tags r:id="rId5"/>
            </p:custDataLst>
          </p:nvPr>
        </p:nvSpPr>
        <p:spPr>
          <a:xfrm>
            <a:off x="366712" y="3863863"/>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6" name="Text Placeholder 2"/>
          <p:cNvSpPr>
            <a:spLocks noGrp="1"/>
          </p:cNvSpPr>
          <p:nvPr>
            <p:ph type="body" sz="quarter" idx="29"/>
            <p:custDataLst>
              <p:tags r:id="rId6"/>
            </p:custDataLst>
          </p:nvPr>
        </p:nvSpPr>
        <p:spPr>
          <a:xfrm>
            <a:off x="366712" y="4507258"/>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7" name="Text Placeholder 2"/>
          <p:cNvSpPr>
            <a:spLocks noGrp="1"/>
          </p:cNvSpPr>
          <p:nvPr>
            <p:ph type="body" sz="quarter" idx="30"/>
            <p:custDataLst>
              <p:tags r:id="rId7"/>
            </p:custDataLst>
          </p:nvPr>
        </p:nvSpPr>
        <p:spPr>
          <a:xfrm>
            <a:off x="366712" y="5150652"/>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2" name="Title 1"/>
          <p:cNvSpPr>
            <a:spLocks noGrp="1"/>
          </p:cNvSpPr>
          <p:nvPr>
            <p:ph type="title"/>
          </p:nvPr>
        </p:nvSpPr>
        <p:spPr>
          <a:xfrm>
            <a:off x="363538" y="629512"/>
            <a:ext cx="8432800" cy="347472"/>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pPr>
              <a:defRPr/>
            </a:pPr>
            <a:fld id="{91D03FF3-2B9E-4617-A592-48F56EC63E6E}" type="slidenum">
              <a:rPr lang="en-US">
                <a:solidFill>
                  <a:srgbClr val="38454F"/>
                </a:solidFill>
              </a:rPr>
              <a:pPr>
                <a:defRPr/>
              </a:pPr>
              <a:t>‹#›</a:t>
            </a:fld>
            <a:endParaRPr lang="en-US" dirty="0">
              <a:solidFill>
                <a:srgbClr val="38454F"/>
              </a:solidFill>
            </a:endParaRPr>
          </a:p>
        </p:txBody>
      </p:sp>
      <p:sp>
        <p:nvSpPr>
          <p:cNvPr id="61" name="Text Placeholder 60"/>
          <p:cNvSpPr>
            <a:spLocks noGrp="1"/>
          </p:cNvSpPr>
          <p:nvPr>
            <p:ph type="body" sz="quarter" idx="12" hasCustomPrompt="1"/>
          </p:nvPr>
        </p:nvSpPr>
        <p:spPr>
          <a:xfrm>
            <a:off x="366713" y="1290279"/>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lvl1pPr marL="0" indent="0">
              <a:buFont typeface="Arial" panose="020B0604020202020204" pitchFamily="34" charset="0"/>
              <a:buChar char="​"/>
              <a:defRPr lang="en-US" sz="2400" b="1" dirty="0" smtClean="0">
                <a:solidFill>
                  <a:schemeClr val="bg1"/>
                </a:solidFill>
                <a:latin typeface="Arial" panose="020B0604020202020204" pitchFamily="34" charset="0"/>
                <a:cs typeface="Arial" panose="020B0604020202020204" pitchFamily="34" charset="0"/>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marL="1595437" indent="0">
              <a:buNone/>
              <a:defRPr lang="en-US" dirty="0">
                <a:solidFill>
                  <a:schemeClr val="lt1"/>
                </a:solidFill>
              </a:defRPr>
            </a:lvl5pPr>
          </a:lstStyle>
          <a:p>
            <a:pPr lvl="0" algn="ctr">
              <a:spcBef>
                <a:spcPct val="0"/>
              </a:spcBef>
            </a:pPr>
            <a:r>
              <a:rPr lang="en-US" dirty="0"/>
              <a:t>#</a:t>
            </a:r>
          </a:p>
        </p:txBody>
      </p:sp>
      <p:sp>
        <p:nvSpPr>
          <p:cNvPr id="63" name="Text Placeholder 60"/>
          <p:cNvSpPr>
            <a:spLocks noGrp="1"/>
          </p:cNvSpPr>
          <p:nvPr>
            <p:ph type="body" sz="quarter" idx="13" hasCustomPrompt="1"/>
          </p:nvPr>
        </p:nvSpPr>
        <p:spPr>
          <a:xfrm>
            <a:off x="366713" y="1934469"/>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4" name="Text Placeholder 60"/>
          <p:cNvSpPr>
            <a:spLocks noGrp="1"/>
          </p:cNvSpPr>
          <p:nvPr>
            <p:ph type="body" sz="quarter" idx="14" hasCustomPrompt="1"/>
          </p:nvPr>
        </p:nvSpPr>
        <p:spPr>
          <a:xfrm>
            <a:off x="366713" y="25778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5" name="Text Placeholder 60"/>
          <p:cNvSpPr>
            <a:spLocks noGrp="1"/>
          </p:cNvSpPr>
          <p:nvPr>
            <p:ph type="body" sz="quarter" idx="15" hasCustomPrompt="1"/>
          </p:nvPr>
        </p:nvSpPr>
        <p:spPr>
          <a:xfrm>
            <a:off x="366713" y="32214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6" name="Text Placeholder 60"/>
          <p:cNvSpPr>
            <a:spLocks noGrp="1"/>
          </p:cNvSpPr>
          <p:nvPr>
            <p:ph type="body" sz="quarter" idx="16" hasCustomPrompt="1"/>
          </p:nvPr>
        </p:nvSpPr>
        <p:spPr>
          <a:xfrm>
            <a:off x="366713" y="38650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7" name="Text Placeholder 60"/>
          <p:cNvSpPr>
            <a:spLocks noGrp="1"/>
          </p:cNvSpPr>
          <p:nvPr>
            <p:ph type="body" sz="quarter" idx="17" hasCustomPrompt="1"/>
          </p:nvPr>
        </p:nvSpPr>
        <p:spPr>
          <a:xfrm>
            <a:off x="366713" y="45086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8" name="Text Placeholder 60"/>
          <p:cNvSpPr>
            <a:spLocks noGrp="1"/>
          </p:cNvSpPr>
          <p:nvPr>
            <p:ph type="body" sz="quarter" idx="18" hasCustomPrompt="1"/>
          </p:nvPr>
        </p:nvSpPr>
        <p:spPr>
          <a:xfrm>
            <a:off x="366713" y="5152240"/>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Tree>
    <p:extLst>
      <p:ext uri="{BB962C8B-B14F-4D97-AF65-F5344CB8AC3E}">
        <p14:creationId xmlns:p14="http://schemas.microsoft.com/office/powerpoint/2010/main" val="3407726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432800" cy="347472"/>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pPr>
              <a:defRPr/>
            </a:pPr>
            <a:fld id="{91D03FF3-2B9E-4617-A592-48F56EC63E6E}" type="slidenum">
              <a:rPr lang="en-US">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4182348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5"/>
          <p:cNvSpPr>
            <a:spLocks noGrp="1" noChangeAspect="1"/>
          </p:cNvSpPr>
          <p:nvPr>
            <p:ph type="sldNum" sz="quarter" idx="11"/>
          </p:nvPr>
        </p:nvSpPr>
        <p:spPr/>
        <p:txBody>
          <a:bodyPr/>
          <a:lstStyle>
            <a:lvl1pPr>
              <a:defRPr/>
            </a:lvl1pPr>
          </a:lstStyle>
          <a:p>
            <a:pPr>
              <a:defRPr/>
            </a:pPr>
            <a:fld id="{0EE25AFF-DC43-4D65-915F-22B9B4081F3B}" type="slidenum">
              <a:rPr lang="en-US">
                <a:solidFill>
                  <a:srgbClr val="4D4D4F"/>
                </a:solidFill>
              </a:rPr>
              <a:pPr>
                <a:defRPr/>
              </a:pPr>
              <a:t>‹#›</a:t>
            </a:fld>
            <a:endParaRPr lang="en-US" dirty="0">
              <a:solidFill>
                <a:srgbClr val="4D4D4F"/>
              </a:solidFill>
            </a:endParaRPr>
          </a:p>
        </p:txBody>
      </p:sp>
    </p:spTree>
    <p:extLst>
      <p:ext uri="{BB962C8B-B14F-4D97-AF65-F5344CB8AC3E}">
        <p14:creationId xmlns:p14="http://schemas.microsoft.com/office/powerpoint/2010/main" val="1610076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a:solidFill>
                  <a:srgbClr val="38454F"/>
                </a:solidFill>
              </a:rPr>
              <a:pPr/>
              <a:t>‹#›</a:t>
            </a:fld>
            <a:endParaRPr lang="en-US">
              <a:solidFill>
                <a:srgbClr val="38454F"/>
              </a:solidFill>
            </a:endParaRPr>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2651565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with Tab">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a:solidFill>
                  <a:srgbClr val="38454F"/>
                </a:solidFill>
              </a:rPr>
              <a:pPr/>
              <a:t>‹#›</a:t>
            </a:fld>
            <a:endParaRPr lang="en-US">
              <a:solidFill>
                <a:srgbClr val="38454F"/>
              </a:solidFill>
            </a:endParaRPr>
          </a:p>
        </p:txBody>
      </p:sp>
      <p:sp>
        <p:nvSpPr>
          <p:cNvPr id="5" name="Flowchart: Data 4"/>
          <p:cNvSpPr/>
          <p:nvPr userDrawn="1"/>
        </p:nvSpPr>
        <p:spPr bwMode="auto">
          <a:xfrm>
            <a:off x="0" y="0"/>
            <a:ext cx="3558474" cy="461430"/>
          </a:xfrm>
          <a:custGeom>
            <a:avLst/>
            <a:gdLst/>
            <a:ahLst/>
            <a:cxnLst/>
            <a:rect l="l" t="t" r="r" b="b"/>
            <a:pathLst>
              <a:path w="3558474" h="461430">
                <a:moveTo>
                  <a:pt x="0" y="0"/>
                </a:moveTo>
                <a:lnTo>
                  <a:pt x="3558474" y="0"/>
                </a:lnTo>
                <a:lnTo>
                  <a:pt x="3294039" y="461430"/>
                </a:lnTo>
                <a:lnTo>
                  <a:pt x="0" y="461430"/>
                </a:lnTo>
                <a:close/>
              </a:path>
            </a:pathLst>
          </a:custGeom>
          <a:solidFill>
            <a:schemeClr val="accent1"/>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9" name="Text Placeholder 8"/>
          <p:cNvSpPr>
            <a:spLocks noGrp="1"/>
          </p:cNvSpPr>
          <p:nvPr>
            <p:ph type="body" sz="quarter" idx="13"/>
          </p:nvPr>
        </p:nvSpPr>
        <p:spPr>
          <a:xfrm>
            <a:off x="371475" y="0"/>
            <a:ext cx="3008313" cy="461963"/>
          </a:xfrm>
        </p:spPr>
        <p:txBody>
          <a:bodyPr anchor="ctr" anchorCtr="0">
            <a:noAutofit/>
          </a:bodyPr>
          <a:lstStyle>
            <a:lvl1pPr marL="0" indent="0" algn="l">
              <a:buNone/>
              <a:defRPr sz="1400" b="0">
                <a:solidFill>
                  <a:schemeClr val="bg1"/>
                </a:solidFill>
              </a:defRPr>
            </a:lvl1pPr>
            <a:lvl2pPr>
              <a:defRPr sz="1100" b="0">
                <a:solidFill>
                  <a:schemeClr val="bg1"/>
                </a:solidFill>
              </a:defRPr>
            </a:lvl2pPr>
            <a:lvl3pPr>
              <a:defRPr sz="1100" b="0">
                <a:solidFill>
                  <a:schemeClr val="bg1"/>
                </a:solidFill>
              </a:defRPr>
            </a:lvl3pPr>
            <a:lvl4pPr>
              <a:defRPr sz="1100" b="0">
                <a:solidFill>
                  <a:schemeClr val="bg1"/>
                </a:solidFill>
              </a:defRPr>
            </a:lvl4pPr>
            <a:lvl5pPr>
              <a:defRPr sz="1100" b="0">
                <a:solidFill>
                  <a:schemeClr val="bg1"/>
                </a:solidFill>
              </a:defRPr>
            </a:lvl5pPr>
          </a:lstStyle>
          <a:p>
            <a:pPr lvl="0"/>
            <a:r>
              <a:rPr lang="en-US"/>
              <a:t>Click to edit Master text styles</a:t>
            </a:r>
          </a:p>
        </p:txBody>
      </p:sp>
      <p:sp>
        <p:nvSpPr>
          <p:cNvPr id="13" name="Text Placeholder 12"/>
          <p:cNvSpPr>
            <a:spLocks noGrp="1"/>
          </p:cNvSpPr>
          <p:nvPr>
            <p:ph type="body" sz="quarter" idx="14"/>
          </p:nvPr>
        </p:nvSpPr>
        <p:spPr>
          <a:xfrm>
            <a:off x="371475" y="996026"/>
            <a:ext cx="853884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405096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4038600" cy="4343400"/>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buFont typeface="Arial" panose="020B0604020202020204" pitchFamily="34" charset="0"/>
              <a:buChar char="»"/>
              <a:defRPr sz="1400"/>
            </a:lvl3pPr>
            <a:lvl4pPr marL="690563" indent="-233363">
              <a:defRPr sz="1200"/>
            </a:lvl4pPr>
            <a:lvl5pPr marL="974725" indent="-284163">
              <a:defRPr sz="1200"/>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4586288" y="1206500"/>
            <a:ext cx="4041648" cy="4343400"/>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defRPr sz="1400"/>
            </a:lvl3pPr>
            <a:lvl4pPr marL="690563" indent="-233363">
              <a:defRPr sz="1200"/>
            </a:lvl4pPr>
            <a:lvl5pPr marL="969963" indent="-2794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3434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2725102" cy="4343400"/>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buFont typeface="Arial" panose="020B0604020202020204" pitchFamily="34" charset="0"/>
              <a:buChar char="»"/>
              <a:defRPr sz="1400"/>
            </a:lvl3pPr>
            <a:lvl4pPr marL="690563" indent="-233363">
              <a:defRPr sz="1200"/>
            </a:lvl4pPr>
            <a:lvl5pPr marL="974725" indent="-284163">
              <a:defRPr sz="1200"/>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5" name="Content Placeholder 4"/>
          <p:cNvSpPr>
            <a:spLocks noGrp="1"/>
          </p:cNvSpPr>
          <p:nvPr>
            <p:ph sz="quarter" idx="17"/>
          </p:nvPr>
        </p:nvSpPr>
        <p:spPr>
          <a:xfrm>
            <a:off x="3217482" y="1206500"/>
            <a:ext cx="2724912" cy="4338638"/>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defRPr sz="1400"/>
            </a:lvl3pPr>
            <a:lvl4pPr marL="690563" indent="-233363">
              <a:defRPr sz="1200"/>
            </a:lvl4pPr>
            <a:lvl5pPr marL="914400" indent="-223838">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8"/>
          </p:nvPr>
        </p:nvSpPr>
        <p:spPr>
          <a:xfrm>
            <a:off x="6071235" y="1206500"/>
            <a:ext cx="2736850" cy="4357688"/>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defRPr sz="1400"/>
            </a:lvl3pPr>
            <a:lvl4pPr marL="690563" indent="-233363">
              <a:defRPr sz="1200"/>
            </a:lvl4pPr>
            <a:lvl5pPr marL="914400" indent="-223838">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8530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Subhead with Chart">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a:solidFill>
                  <a:srgbClr val="38454F"/>
                </a:solidFill>
              </a:rPr>
              <a:pPr/>
              <a:t>‹#›</a:t>
            </a:fld>
            <a:endParaRPr lang="en-US">
              <a:solidFill>
                <a:srgbClr val="38454F"/>
              </a:solidFill>
            </a:endParaRPr>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7" name="Chart Placeholder 6"/>
          <p:cNvSpPr>
            <a:spLocks noGrp="1"/>
          </p:cNvSpPr>
          <p:nvPr>
            <p:ph type="chart" sz="quarter" idx="15"/>
          </p:nvPr>
        </p:nvSpPr>
        <p:spPr>
          <a:xfrm>
            <a:off x="806497" y="1711708"/>
            <a:ext cx="7559581" cy="4064060"/>
          </a:xfrm>
        </p:spPr>
        <p:txBody>
          <a:bodyPr/>
          <a:lstStyle>
            <a:lvl1pPr marL="0" indent="0">
              <a:buNone/>
              <a:defRPr/>
            </a:lvl1pPr>
          </a:lstStyle>
          <a:p>
            <a:r>
              <a:rPr lang="en-US"/>
              <a:t>Click icon to add chart</a:t>
            </a:r>
          </a:p>
        </p:txBody>
      </p:sp>
    </p:spTree>
    <p:extLst>
      <p:ext uri="{BB962C8B-B14F-4D97-AF65-F5344CB8AC3E}">
        <p14:creationId xmlns:p14="http://schemas.microsoft.com/office/powerpoint/2010/main" val="688199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solidFill>
                  <a:schemeClr val="tx1"/>
                </a:solidFill>
              </a:defRPr>
            </a:lvl2pPr>
            <a:lvl3pPr>
              <a:defRPr lang="en-US" sz="1400" noProof="0" dirty="0" smtClean="0">
                <a:solidFill>
                  <a:schemeClr val="tx1"/>
                </a:solidFill>
              </a:defRPr>
            </a:lvl3pPr>
            <a:lvl4pPr>
              <a:defRPr lang="en-US" sz="1200" noProof="0" dirty="0" smtClean="0">
                <a:solidFill>
                  <a:schemeClr val="tx1"/>
                </a:solidFill>
              </a:defRPr>
            </a:lvl4pPr>
            <a:lvl5pPr>
              <a:defRPr lang="en-US" sz="1200" noProof="0" dirty="0" smtClean="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noProof="0"/>
              <a:pPr>
                <a:defRPr/>
              </a:pPr>
              <a:t>‹#›</a:t>
            </a:fld>
            <a:endParaRPr lang="en-US" noProof="0" dirty="0"/>
          </a:p>
        </p:txBody>
      </p:sp>
      <p:sp>
        <p:nvSpPr>
          <p:cNvPr id="8" name="Text Placeholder 2"/>
          <p:cNvSpPr>
            <a:spLocks noGrp="1"/>
          </p:cNvSpPr>
          <p:nvPr>
            <p:ph type="body" sz="quarter" idx="24"/>
            <p:custDataLst>
              <p:tags r:id="rId1"/>
            </p:custDataLst>
          </p:nvPr>
        </p:nvSpPr>
        <p:spPr>
          <a:xfrm>
            <a:off x="366713"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11"/>
          <p:cNvSpPr>
            <a:spLocks noGrp="1"/>
          </p:cNvSpPr>
          <p:nvPr>
            <p:ph sz="quarter" idx="25"/>
          </p:nvPr>
        </p:nvSpPr>
        <p:spPr>
          <a:xfrm>
            <a:off x="3254777"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solidFill>
                  <a:schemeClr val="tx1"/>
                </a:solidFill>
              </a:defRPr>
            </a:lvl2pPr>
            <a:lvl3pPr>
              <a:defRPr lang="en-US" sz="1400" noProof="0" dirty="0" smtClean="0">
                <a:solidFill>
                  <a:schemeClr val="tx1"/>
                </a:solidFill>
              </a:defRPr>
            </a:lvl3pPr>
            <a:lvl4pPr>
              <a:defRPr lang="en-US" sz="1200" noProof="0" dirty="0" smtClean="0">
                <a:solidFill>
                  <a:schemeClr val="tx1"/>
                </a:solidFill>
              </a:defRPr>
            </a:lvl4pPr>
            <a:lvl5pPr>
              <a:defRPr lang="en-US" sz="1200" noProof="0" dirty="0" smtClean="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2"/>
          <p:cNvSpPr>
            <a:spLocks noGrp="1"/>
          </p:cNvSpPr>
          <p:nvPr>
            <p:ph type="body" sz="quarter" idx="26"/>
            <p:custDataLst>
              <p:tags r:id="rId2"/>
            </p:custDataLst>
          </p:nvPr>
        </p:nvSpPr>
        <p:spPr>
          <a:xfrm>
            <a:off x="3257952"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
        <p:nvSpPr>
          <p:cNvPr id="14" name="Content Placeholder 11"/>
          <p:cNvSpPr>
            <a:spLocks noGrp="1"/>
          </p:cNvSpPr>
          <p:nvPr>
            <p:ph sz="quarter" idx="27"/>
          </p:nvPr>
        </p:nvSpPr>
        <p:spPr>
          <a:xfrm>
            <a:off x="6146016"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solidFill>
                  <a:schemeClr val="tx1"/>
                </a:solidFill>
              </a:defRPr>
            </a:lvl2pPr>
            <a:lvl3pPr>
              <a:defRPr lang="en-US" sz="1400" noProof="0" dirty="0" smtClean="0">
                <a:solidFill>
                  <a:schemeClr val="tx1"/>
                </a:solidFill>
              </a:defRPr>
            </a:lvl3pPr>
            <a:lvl4pPr>
              <a:defRPr lang="en-US" sz="1200" noProof="0" dirty="0" smtClean="0">
                <a:solidFill>
                  <a:schemeClr val="tx1"/>
                </a:solidFill>
              </a:defRPr>
            </a:lvl4pPr>
            <a:lvl5pPr>
              <a:defRPr lang="en-US" sz="1200" noProof="0" dirty="0" smtClean="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2"/>
          <p:cNvSpPr>
            <a:spLocks noGrp="1"/>
          </p:cNvSpPr>
          <p:nvPr>
            <p:ph type="body" sz="quarter" idx="28"/>
            <p:custDataLst>
              <p:tags r:id="rId3"/>
            </p:custDataLst>
          </p:nvPr>
        </p:nvSpPr>
        <p:spPr>
          <a:xfrm>
            <a:off x="6149191"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9220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4069080" cy="3805238"/>
          </a:xfrm>
        </p:spPr>
        <p:txBody>
          <a:bodyPr vert="horz" lIns="0" tIns="0" rIns="0" bIns="0" rtlCol="0">
            <a:noAutofit/>
          </a:bodyPr>
          <a:lstStyle>
            <a:lvl1pPr>
              <a:defRPr lang="en-US" sz="1800" b="0" noProof="0" dirty="0" smtClean="0">
                <a:solidFill>
                  <a:schemeClr val="tx1"/>
                </a:solidFill>
              </a:defRPr>
            </a:lvl1pPr>
            <a:lvl2pPr>
              <a:defRPr lang="en-US" sz="1600" noProof="0" dirty="0" smtClean="0"/>
            </a:lvl2pPr>
            <a:lvl3pPr>
              <a:defRPr lang="en-US" sz="1600" noProof="0" dirty="0" smtClean="0"/>
            </a:lvl3pPr>
            <a:lvl4pPr>
              <a:defRPr lang="en-US" sz="1400" noProof="0" dirty="0" smtClean="0"/>
            </a:lvl4pPr>
            <a:lvl5pPr>
              <a:defRPr lang="en-US" sz="14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4700207" y="2330450"/>
            <a:ext cx="4069080" cy="3805238"/>
          </a:xfrm>
        </p:spPr>
        <p:txBody>
          <a:bodyPr vert="horz" lIns="0" tIns="0" rIns="0" bIns="0" rtlCol="0">
            <a:noAutofit/>
          </a:bodyPr>
          <a:lstStyle>
            <a:lvl1pPr>
              <a:defRPr lang="en-US" sz="1800" b="0" dirty="0" smtClean="0">
                <a:solidFill>
                  <a:schemeClr val="tx1"/>
                </a:solidFill>
              </a:defRPr>
            </a:lvl1pPr>
            <a:lvl2pPr>
              <a:defRPr lang="en-US" sz="1600" dirty="0" smtClean="0"/>
            </a:lvl2pPr>
            <a:lvl3pPr>
              <a:defRPr lang="en-US" sz="1600" dirty="0" smtClean="0"/>
            </a:lvl3pPr>
            <a:lvl4pPr>
              <a:defRPr lang="en-US" sz="1400" dirty="0" smtClean="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46051"/>
            <a:ext cx="4069080" cy="556634"/>
          </a:xfrm>
          <a:prstGeom prst="rect">
            <a:avLst/>
          </a:prstGeom>
          <a:solidFill>
            <a:schemeClr val="accent2"/>
          </a:solidFill>
        </p:spPr>
        <p:txBody>
          <a:bodyPr lIns="45720" tIns="45720" rIns="45720" bIns="45720" anchor="ctr"/>
          <a:lstStyle>
            <a:lvl1pPr marL="4763" indent="0" algn="ctr">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4700207" y="1646051"/>
            <a:ext cx="4069080" cy="556634"/>
          </a:xfrm>
          <a:prstGeom prst="rect">
            <a:avLst/>
          </a:prstGeom>
          <a:solidFill>
            <a:schemeClr val="accent2"/>
          </a:solidFill>
        </p:spPr>
        <p:txBody>
          <a:bodyPr lIns="45720" tIns="45720" rIns="45720" bIns="45720" anchor="ctr"/>
          <a:lstStyle>
            <a:lvl1pPr marL="0" indent="0" algn="ctr">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38880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solidFill>
                  <a:schemeClr val="tx1"/>
                </a:solidFill>
              </a:defRPr>
            </a:lvl2pPr>
            <a:lvl3pPr>
              <a:defRPr lang="en-US" sz="1400" noProof="0" dirty="0" smtClean="0">
                <a:solidFill>
                  <a:schemeClr val="tx1"/>
                </a:solidFill>
              </a:defRPr>
            </a:lvl3pPr>
            <a:lvl4pPr>
              <a:defRPr lang="en-US" sz="1200" noProof="0" dirty="0" smtClean="0">
                <a:solidFill>
                  <a:schemeClr val="tx1"/>
                </a:solidFill>
              </a:defRPr>
            </a:lvl4pPr>
            <a:lvl5pPr>
              <a:defRPr lang="en-US" sz="1200" noProof="0" dirty="0" smtClean="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8" name="Text Placeholder 2"/>
          <p:cNvSpPr>
            <a:spLocks noGrp="1"/>
          </p:cNvSpPr>
          <p:nvPr>
            <p:ph type="body" sz="quarter" idx="24"/>
            <p:custDataLst>
              <p:tags r:id="rId1"/>
            </p:custDataLst>
          </p:nvPr>
        </p:nvSpPr>
        <p:spPr>
          <a:xfrm>
            <a:off x="366713"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11"/>
          <p:cNvSpPr>
            <a:spLocks noGrp="1"/>
          </p:cNvSpPr>
          <p:nvPr>
            <p:ph sz="quarter" idx="25"/>
          </p:nvPr>
        </p:nvSpPr>
        <p:spPr>
          <a:xfrm>
            <a:off x="3254777"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solidFill>
                  <a:schemeClr val="tx1"/>
                </a:solidFill>
              </a:defRPr>
            </a:lvl2pPr>
            <a:lvl3pPr>
              <a:defRPr lang="en-US" sz="1400" noProof="0" dirty="0" smtClean="0">
                <a:solidFill>
                  <a:schemeClr val="tx1"/>
                </a:solidFill>
              </a:defRPr>
            </a:lvl3pPr>
            <a:lvl4pPr>
              <a:defRPr lang="en-US" sz="1200" noProof="0" dirty="0" smtClean="0">
                <a:solidFill>
                  <a:schemeClr val="tx1"/>
                </a:solidFill>
              </a:defRPr>
            </a:lvl4pPr>
            <a:lvl5pPr>
              <a:defRPr lang="en-US" sz="1200" noProof="0" dirty="0" smtClean="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2"/>
          <p:cNvSpPr>
            <a:spLocks noGrp="1"/>
          </p:cNvSpPr>
          <p:nvPr>
            <p:ph type="body" sz="quarter" idx="26"/>
            <p:custDataLst>
              <p:tags r:id="rId2"/>
            </p:custDataLst>
          </p:nvPr>
        </p:nvSpPr>
        <p:spPr>
          <a:xfrm>
            <a:off x="3257952"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
        <p:nvSpPr>
          <p:cNvPr id="14" name="Content Placeholder 11"/>
          <p:cNvSpPr>
            <a:spLocks noGrp="1"/>
          </p:cNvSpPr>
          <p:nvPr>
            <p:ph sz="quarter" idx="27"/>
          </p:nvPr>
        </p:nvSpPr>
        <p:spPr>
          <a:xfrm>
            <a:off x="6146016"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solidFill>
                  <a:schemeClr val="tx1"/>
                </a:solidFill>
              </a:defRPr>
            </a:lvl2pPr>
            <a:lvl3pPr>
              <a:defRPr lang="en-US" sz="1400" noProof="0" dirty="0" smtClean="0">
                <a:solidFill>
                  <a:schemeClr val="tx1"/>
                </a:solidFill>
              </a:defRPr>
            </a:lvl3pPr>
            <a:lvl4pPr>
              <a:defRPr lang="en-US" sz="1200" noProof="0" dirty="0" smtClean="0">
                <a:solidFill>
                  <a:schemeClr val="tx1"/>
                </a:solidFill>
              </a:defRPr>
            </a:lvl4pPr>
            <a:lvl5pPr>
              <a:defRPr lang="en-US" sz="1200" noProof="0" dirty="0" smtClean="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2"/>
          <p:cNvSpPr>
            <a:spLocks noGrp="1"/>
          </p:cNvSpPr>
          <p:nvPr>
            <p:ph type="body" sz="quarter" idx="28"/>
            <p:custDataLst>
              <p:tags r:id="rId3"/>
            </p:custDataLst>
          </p:nvPr>
        </p:nvSpPr>
        <p:spPr>
          <a:xfrm>
            <a:off x="6149191"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90527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8" name="Text Placeholder 2"/>
          <p:cNvSpPr>
            <a:spLocks noGrp="1"/>
          </p:cNvSpPr>
          <p:nvPr>
            <p:ph type="body" sz="quarter" idx="24"/>
            <p:custDataLst>
              <p:tags r:id="rId1"/>
            </p:custDataLst>
          </p:nvPr>
        </p:nvSpPr>
        <p:spPr>
          <a:xfrm>
            <a:off x="363538"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11"/>
          <p:cNvSpPr>
            <a:spLocks noGrp="1"/>
          </p:cNvSpPr>
          <p:nvPr>
            <p:ph sz="quarter" idx="25"/>
          </p:nvPr>
        </p:nvSpPr>
        <p:spPr>
          <a:xfrm>
            <a:off x="2524655"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2"/>
          <p:cNvSpPr>
            <a:spLocks noGrp="1"/>
          </p:cNvSpPr>
          <p:nvPr>
            <p:ph type="body" sz="quarter" idx="26"/>
            <p:custDataLst>
              <p:tags r:id="rId2"/>
            </p:custDataLst>
          </p:nvPr>
        </p:nvSpPr>
        <p:spPr>
          <a:xfrm>
            <a:off x="2525713"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4" name="Content Placeholder 11"/>
          <p:cNvSpPr>
            <a:spLocks noGrp="1"/>
          </p:cNvSpPr>
          <p:nvPr>
            <p:ph sz="quarter" idx="27"/>
          </p:nvPr>
        </p:nvSpPr>
        <p:spPr>
          <a:xfrm>
            <a:off x="4685772"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2"/>
          <p:cNvSpPr>
            <a:spLocks noGrp="1"/>
          </p:cNvSpPr>
          <p:nvPr>
            <p:ph type="body" sz="quarter" idx="28"/>
            <p:custDataLst>
              <p:tags r:id="rId3"/>
            </p:custDataLst>
          </p:nvPr>
        </p:nvSpPr>
        <p:spPr>
          <a:xfrm>
            <a:off x="4687888"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6" name="Content Placeholder 11"/>
          <p:cNvSpPr>
            <a:spLocks noGrp="1"/>
          </p:cNvSpPr>
          <p:nvPr>
            <p:ph sz="quarter" idx="29"/>
          </p:nvPr>
        </p:nvSpPr>
        <p:spPr>
          <a:xfrm>
            <a:off x="6846888"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Text Placeholder 2"/>
          <p:cNvSpPr>
            <a:spLocks noGrp="1"/>
          </p:cNvSpPr>
          <p:nvPr>
            <p:ph type="body" sz="quarter" idx="30"/>
            <p:custDataLst>
              <p:tags r:id="rId4"/>
            </p:custDataLst>
          </p:nvPr>
        </p:nvSpPr>
        <p:spPr>
          <a:xfrm>
            <a:off x="6850063"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29201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Horz 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745632"/>
            <a:ext cx="6158232" cy="2011680"/>
          </a:xfrm>
        </p:spPr>
        <p:txBody>
          <a:bodyPr vert="horz" lIns="0" tIns="0" rIns="0" bIns="0" rtlCol="0">
            <a:noAutofit/>
          </a:bodyPr>
          <a:lstStyle>
            <a:lvl1pPr>
              <a:defRPr lang="en-US" b="0" noProof="0" dirty="0" smtClean="0">
                <a:solidFill>
                  <a:schemeClr val="tx1"/>
                </a:solidFill>
              </a:defRPr>
            </a:lvl1pPr>
            <a:lvl2pPr>
              <a:defRPr lang="en-US" noProof="0" dirty="0" smtClean="0"/>
            </a:lvl2pPr>
            <a:lvl3pPr>
              <a:defRPr lang="en-US" noProof="0" dirty="0" smtClean="0"/>
            </a:lvl3pPr>
            <a:lvl4pPr>
              <a:defRPr lang="en-US" noProof="0" dirty="0" smtClean="0"/>
            </a:lvl4pPr>
            <a:lvl5pPr>
              <a:defRPr lang="en-US"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3888152"/>
            <a:ext cx="6158232" cy="2011680"/>
          </a:xfrm>
        </p:spPr>
        <p:txBody>
          <a:bodyPr vert="horz" lIns="0" tIns="0" rIns="0" bIns="0" rtlCol="0">
            <a:noAutofit/>
          </a:bodyPr>
          <a:lstStyle>
            <a:lvl1pPr>
              <a:defRPr lang="en-US" b="0" dirty="0" smtClean="0">
                <a:solidFill>
                  <a:schemeClr val="tx1"/>
                </a:solidFill>
              </a:defRPr>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745632"/>
            <a:ext cx="2102167" cy="2011680"/>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888152"/>
            <a:ext cx="2102167" cy="201168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2529444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Horz 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46049"/>
            <a:ext cx="6158232" cy="1371600"/>
          </a:xfrm>
        </p:spPr>
        <p:txBody>
          <a:bodyPr vert="horz" lIns="0" tIns="0" rIns="0" bIns="0" rtlCol="0">
            <a:noAutofit/>
          </a:bodyPr>
          <a:lstStyle>
            <a:lvl1pPr>
              <a:defRPr lang="en-US" sz="16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3221600"/>
            <a:ext cx="6158232" cy="137160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46049"/>
            <a:ext cx="2102167" cy="1371600"/>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221601"/>
            <a:ext cx="2102167" cy="137160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4797152"/>
            <a:ext cx="6158232" cy="137160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p:cNvSpPr>
            <a:spLocks noGrp="1"/>
          </p:cNvSpPr>
          <p:nvPr>
            <p:ph type="body" sz="quarter" idx="27"/>
            <p:custDataLst>
              <p:tags r:id="rId3"/>
            </p:custDataLst>
          </p:nvPr>
        </p:nvSpPr>
        <p:spPr>
          <a:xfrm>
            <a:off x="366712" y="4797152"/>
            <a:ext cx="2102167" cy="137160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1189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Horz 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528360"/>
            <a:ext cx="6158232" cy="1046351"/>
          </a:xfrm>
        </p:spPr>
        <p:txBody>
          <a:bodyPr vert="horz" lIns="0" tIns="0" rIns="0" bIns="0" rtlCol="0">
            <a:noAutofit/>
          </a:bodyPr>
          <a:lstStyle>
            <a:lvl1pPr>
              <a:defRPr lang="en-US" sz="1600" b="0" noProof="0" dirty="0" smtClean="0">
                <a:solidFill>
                  <a:schemeClr val="tx1"/>
                </a:solidFill>
              </a:defRPr>
            </a:lvl1pPr>
            <a:lvl2pPr>
              <a:defRPr lang="en-US" sz="1400" noProof="0" dirty="0" smtClean="0"/>
            </a:lvl2pPr>
            <a:lvl3pPr>
              <a:defRPr lang="en-US" sz="1400" noProof="0" dirty="0" smtClean="0"/>
            </a:lvl3pPr>
          </a:lstStyle>
          <a:p>
            <a:pPr lvl="0"/>
            <a:r>
              <a:rPr lang="en-US" noProof="0"/>
              <a:t>Click to edit Master text styles</a:t>
            </a:r>
          </a:p>
          <a:p>
            <a:pPr lvl="1"/>
            <a:r>
              <a:rPr lang="en-US" noProof="0"/>
              <a:t>Second level</a:t>
            </a:r>
          </a:p>
          <a:p>
            <a:pPr lvl="2"/>
            <a:r>
              <a:rPr lang="en-US" noProof="0"/>
              <a:t>Third level</a:t>
            </a:r>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2708138"/>
            <a:ext cx="6158232" cy="1042416"/>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8" name="Text Placeholder 2"/>
          <p:cNvSpPr>
            <a:spLocks noGrp="1"/>
          </p:cNvSpPr>
          <p:nvPr>
            <p:ph type="body" sz="quarter" idx="24"/>
            <p:custDataLst>
              <p:tags r:id="rId1"/>
            </p:custDataLst>
          </p:nvPr>
        </p:nvSpPr>
        <p:spPr>
          <a:xfrm>
            <a:off x="366712" y="1528360"/>
            <a:ext cx="2102167" cy="1046351"/>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2708138"/>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3883981"/>
            <a:ext cx="6158232" cy="1042416"/>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sz="quarter" idx="27"/>
            <p:custDataLst>
              <p:tags r:id="rId3"/>
            </p:custDataLst>
          </p:nvPr>
        </p:nvSpPr>
        <p:spPr>
          <a:xfrm>
            <a:off x="366712" y="3883981"/>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4" name="Content Placeholder 6"/>
          <p:cNvSpPr>
            <a:spLocks noGrp="1"/>
          </p:cNvSpPr>
          <p:nvPr>
            <p:ph sz="quarter" idx="28"/>
          </p:nvPr>
        </p:nvSpPr>
        <p:spPr>
          <a:xfrm>
            <a:off x="2622231" y="5059823"/>
            <a:ext cx="6158232" cy="1042416"/>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5" name="Text Placeholder 2"/>
          <p:cNvSpPr>
            <a:spLocks noGrp="1"/>
          </p:cNvSpPr>
          <p:nvPr>
            <p:ph type="body" sz="quarter" idx="29"/>
            <p:custDataLst>
              <p:tags r:id="rId4"/>
            </p:custDataLst>
          </p:nvPr>
        </p:nvSpPr>
        <p:spPr>
          <a:xfrm>
            <a:off x="366712" y="5059823"/>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14726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Arrow 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893767"/>
            <a:ext cx="6158232" cy="1737360"/>
          </a:xfrm>
        </p:spPr>
        <p:txBody>
          <a:bodyPr vert="horz" lIns="0" tIns="0" rIns="0" bIns="0" rtlCol="0">
            <a:noAutofit/>
          </a:bodyPr>
          <a:lstStyle>
            <a:lvl1pPr>
              <a:defRPr lang="en-US" sz="160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4035305"/>
            <a:ext cx="6158232" cy="1737360"/>
          </a:xfrm>
        </p:spPr>
        <p:txBody>
          <a:bodyPr vert="horz" lIns="0" tIns="0" rIns="0" bIns="0" rtlCol="0">
            <a:noAutofit/>
          </a:bodyPr>
          <a:lstStyle>
            <a:lvl1pPr>
              <a:defRPr lang="en-US" sz="160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893767"/>
            <a:ext cx="2102167" cy="173736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4035305"/>
            <a:ext cx="2102167" cy="173736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962926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rrow 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53961"/>
            <a:ext cx="6158232" cy="1234440"/>
          </a:xfrm>
        </p:spPr>
        <p:txBody>
          <a:bodyPr vert="horz" lIns="0" tIns="0" rIns="0" bIns="0" rtlCol="0">
            <a:noAutofit/>
          </a:bodyPr>
          <a:lstStyle>
            <a:lvl1pPr>
              <a:defRPr lang="en-US" sz="160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3202716"/>
            <a:ext cx="6158232" cy="1234440"/>
          </a:xfrm>
        </p:spPr>
        <p:txBody>
          <a:bodyPr vert="horz" lIns="0" tIns="0" rIns="0" bIns="0" rtlCol="0">
            <a:noAutofit/>
          </a:bodyPr>
          <a:lstStyle>
            <a:lvl1pPr>
              <a:defRPr lang="en-US" sz="160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53961"/>
            <a:ext cx="2102167" cy="123444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202716"/>
            <a:ext cx="2102167" cy="123444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4751471"/>
            <a:ext cx="6158232" cy="1234440"/>
          </a:xfrm>
        </p:spPr>
        <p:txBody>
          <a:bodyPr vert="horz" lIns="0" tIns="0" rIns="0" bIns="0" rtlCol="0">
            <a:noAutofit/>
          </a:bodyPr>
          <a:lstStyle>
            <a:lvl1pPr>
              <a:defRPr lang="en-US" sz="160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p:cNvSpPr>
            <a:spLocks noGrp="1"/>
          </p:cNvSpPr>
          <p:nvPr>
            <p:ph type="body" sz="quarter" idx="27"/>
            <p:custDataLst>
              <p:tags r:id="rId3"/>
            </p:custDataLst>
          </p:nvPr>
        </p:nvSpPr>
        <p:spPr>
          <a:xfrm>
            <a:off x="366712" y="4751471"/>
            <a:ext cx="2102167" cy="123444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63733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rrow 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08696"/>
            <a:ext cx="6158232" cy="960120"/>
          </a:xfrm>
        </p:spPr>
        <p:txBody>
          <a:bodyPr vert="horz" lIns="0" tIns="0" rIns="0" bIns="0" rtlCol="0">
            <a:noAutofit/>
          </a:bodyPr>
          <a:lstStyle>
            <a:lvl1pPr>
              <a:defRPr lang="en-US" sz="1600" b="0" noProof="0" dirty="0" smtClean="0">
                <a:solidFill>
                  <a:schemeClr val="tx1"/>
                </a:solidFill>
              </a:defRPr>
            </a:lvl1pPr>
            <a:lvl2pPr>
              <a:defRPr lang="en-US" sz="1400" noProof="0" dirty="0" smtClean="0"/>
            </a:lvl2pPr>
            <a:lvl3pPr>
              <a:defRPr lang="en-US" sz="1400" noProof="0" dirty="0" smtClean="0"/>
            </a:lvl3pPr>
          </a:lstStyle>
          <a:p>
            <a:pPr lvl="0"/>
            <a:r>
              <a:rPr lang="en-US" noProof="0"/>
              <a:t>Click to edit Master text styles</a:t>
            </a:r>
          </a:p>
          <a:p>
            <a:pPr lvl="1"/>
            <a:r>
              <a:rPr lang="en-US" noProof="0"/>
              <a:t>Second level</a:t>
            </a:r>
          </a:p>
          <a:p>
            <a:pPr lvl="2"/>
            <a:r>
              <a:rPr lang="en-US" noProof="0"/>
              <a:t>Third level</a:t>
            </a:r>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2761213"/>
            <a:ext cx="6158232" cy="96012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8" name="Text Placeholder 2"/>
          <p:cNvSpPr>
            <a:spLocks noGrp="1"/>
          </p:cNvSpPr>
          <p:nvPr>
            <p:ph type="body" sz="quarter" idx="24"/>
            <p:custDataLst>
              <p:tags r:id="rId1"/>
            </p:custDataLst>
          </p:nvPr>
        </p:nvSpPr>
        <p:spPr>
          <a:xfrm>
            <a:off x="366712" y="1608696"/>
            <a:ext cx="2102167" cy="96012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2761213"/>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3913730"/>
            <a:ext cx="6158232" cy="96012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sz="quarter" idx="27"/>
            <p:custDataLst>
              <p:tags r:id="rId3"/>
            </p:custDataLst>
          </p:nvPr>
        </p:nvSpPr>
        <p:spPr>
          <a:xfrm>
            <a:off x="366712" y="3913730"/>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4" name="Content Placeholder 6"/>
          <p:cNvSpPr>
            <a:spLocks noGrp="1"/>
          </p:cNvSpPr>
          <p:nvPr>
            <p:ph sz="quarter" idx="28"/>
          </p:nvPr>
        </p:nvSpPr>
        <p:spPr>
          <a:xfrm>
            <a:off x="2622231" y="5066246"/>
            <a:ext cx="6158232" cy="96012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5" name="Text Placeholder 2"/>
          <p:cNvSpPr>
            <a:spLocks noGrp="1"/>
          </p:cNvSpPr>
          <p:nvPr>
            <p:ph type="body" sz="quarter" idx="29"/>
            <p:custDataLst>
              <p:tags r:id="rId4"/>
            </p:custDataLst>
          </p:nvPr>
        </p:nvSpPr>
        <p:spPr>
          <a:xfrm>
            <a:off x="366712" y="5066246"/>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139995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12" name="Freeform 6"/>
          <p:cNvSpPr>
            <a:spLocks/>
          </p:cNvSpPr>
          <p:nvPr userDrawn="1"/>
        </p:nvSpPr>
        <p:spPr bwMode="auto">
          <a:xfrm>
            <a:off x="3425840" y="0"/>
            <a:ext cx="5733420" cy="6858000"/>
          </a:xfrm>
          <a:custGeom>
            <a:avLst/>
            <a:gdLst/>
            <a:ahLst/>
            <a:cxnLst/>
            <a:rect l="l" t="t" r="r" b="b"/>
            <a:pathLst>
              <a:path w="5733420" h="6858000">
                <a:moveTo>
                  <a:pt x="0" y="0"/>
                </a:moveTo>
                <a:lnTo>
                  <a:pt x="634" y="0"/>
                </a:lnTo>
                <a:lnTo>
                  <a:pt x="5733420" y="0"/>
                </a:lnTo>
                <a:lnTo>
                  <a:pt x="5729588" y="6858000"/>
                </a:lnTo>
                <a:lnTo>
                  <a:pt x="3963034" y="685800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459499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19" name="Isosceles Triangle 18"/>
          <p:cNvSpPr/>
          <p:nvPr userDrawn="1"/>
        </p:nvSpPr>
        <p:spPr bwMode="auto">
          <a:xfrm>
            <a:off x="7496175" y="3993931"/>
            <a:ext cx="1661161" cy="2864069"/>
          </a:xfrm>
          <a:custGeom>
            <a:avLst/>
            <a:gdLst/>
            <a:ahLst/>
            <a:cxnLst/>
            <a:rect l="l" t="t" r="r" b="b"/>
            <a:pathLst>
              <a:path w="1661161" h="2864069">
                <a:moveTo>
                  <a:pt x="1661161" y="0"/>
                </a:moveTo>
                <a:lnTo>
                  <a:pt x="1661161" y="2864069"/>
                </a:lnTo>
                <a:lnTo>
                  <a:pt x="0" y="2864069"/>
                </a:lnTo>
                <a:close/>
              </a:path>
            </a:pathLst>
          </a:custGeom>
          <a:solidFill>
            <a:schemeClr val="accent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1" name="Freeform 6"/>
          <p:cNvSpPr>
            <a:spLocks/>
          </p:cNvSpPr>
          <p:nvPr userDrawn="1"/>
        </p:nvSpPr>
        <p:spPr bwMode="auto">
          <a:xfrm>
            <a:off x="4879047" y="0"/>
            <a:ext cx="4280213" cy="5697264"/>
          </a:xfrm>
          <a:custGeom>
            <a:avLst/>
            <a:gdLst/>
            <a:ahLst/>
            <a:cxnLst/>
            <a:rect l="l" t="t" r="r" b="b"/>
            <a:pathLst>
              <a:path w="4280213" h="5697264">
                <a:moveTo>
                  <a:pt x="0" y="0"/>
                </a:moveTo>
                <a:lnTo>
                  <a:pt x="634" y="0"/>
                </a:lnTo>
                <a:lnTo>
                  <a:pt x="4280213" y="0"/>
                </a:lnTo>
                <a:lnTo>
                  <a:pt x="4280213" y="3993931"/>
                </a:lnTo>
                <a:lnTo>
                  <a:pt x="3292279" y="569726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4" name="Isosceles Triangle 13"/>
          <p:cNvSpPr/>
          <p:nvPr userDrawn="1"/>
        </p:nvSpPr>
        <p:spPr bwMode="auto">
          <a:xfrm>
            <a:off x="7496175" y="5696782"/>
            <a:ext cx="1347013" cy="1161218"/>
          </a:xfrm>
          <a:prstGeom prst="triangle">
            <a:avLst/>
          </a:pr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pSp>
        <p:nvGrpSpPr>
          <p:cNvPr id="10" name="Group 9"/>
          <p:cNvGrpSpPr>
            <a:grpSpLocks noChangeAspect="1"/>
          </p:cNvGrpSpPr>
          <p:nvPr userDrawn="1"/>
        </p:nvGrpSpPr>
        <p:grpSpPr>
          <a:xfrm>
            <a:off x="374651" y="6431112"/>
            <a:ext cx="1673352" cy="328463"/>
            <a:chOff x="374651" y="6029325"/>
            <a:chExt cx="2054224" cy="403225"/>
          </a:xfrm>
        </p:grpSpPr>
        <p:sp>
          <p:nvSpPr>
            <p:cNvPr id="13"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5"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6" name="Freeform 15"/>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7" name="Freeform 16"/>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8" name="Freeform 17"/>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0" name="Freeform 19"/>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2" name="Freeform 21"/>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3" name="Freeform 22"/>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4"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5"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6"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7"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8"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9"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0"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1"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2"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953350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noProof="0"/>
              <a:pPr>
                <a:defRPr/>
              </a:pPr>
              <a:t>‹#›</a:t>
            </a:fld>
            <a:endParaRPr lang="en-US" noProof="0" dirty="0"/>
          </a:p>
        </p:txBody>
      </p:sp>
      <p:sp>
        <p:nvSpPr>
          <p:cNvPr id="8" name="Text Placeholder 2"/>
          <p:cNvSpPr>
            <a:spLocks noGrp="1"/>
          </p:cNvSpPr>
          <p:nvPr>
            <p:ph type="body" sz="quarter" idx="24"/>
            <p:custDataLst>
              <p:tags r:id="rId1"/>
            </p:custDataLst>
          </p:nvPr>
        </p:nvSpPr>
        <p:spPr>
          <a:xfrm>
            <a:off x="363538"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11"/>
          <p:cNvSpPr>
            <a:spLocks noGrp="1"/>
          </p:cNvSpPr>
          <p:nvPr>
            <p:ph sz="quarter" idx="25"/>
          </p:nvPr>
        </p:nvSpPr>
        <p:spPr>
          <a:xfrm>
            <a:off x="2524655"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2"/>
          <p:cNvSpPr>
            <a:spLocks noGrp="1"/>
          </p:cNvSpPr>
          <p:nvPr>
            <p:ph type="body" sz="quarter" idx="26"/>
            <p:custDataLst>
              <p:tags r:id="rId2"/>
            </p:custDataLst>
          </p:nvPr>
        </p:nvSpPr>
        <p:spPr>
          <a:xfrm>
            <a:off x="2525713"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4" name="Content Placeholder 11"/>
          <p:cNvSpPr>
            <a:spLocks noGrp="1"/>
          </p:cNvSpPr>
          <p:nvPr>
            <p:ph sz="quarter" idx="27"/>
          </p:nvPr>
        </p:nvSpPr>
        <p:spPr>
          <a:xfrm>
            <a:off x="4685772"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2"/>
          <p:cNvSpPr>
            <a:spLocks noGrp="1"/>
          </p:cNvSpPr>
          <p:nvPr>
            <p:ph type="body" sz="quarter" idx="28"/>
            <p:custDataLst>
              <p:tags r:id="rId3"/>
            </p:custDataLst>
          </p:nvPr>
        </p:nvSpPr>
        <p:spPr>
          <a:xfrm>
            <a:off x="4687888"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6" name="Content Placeholder 11"/>
          <p:cNvSpPr>
            <a:spLocks noGrp="1"/>
          </p:cNvSpPr>
          <p:nvPr>
            <p:ph sz="quarter" idx="29"/>
          </p:nvPr>
        </p:nvSpPr>
        <p:spPr>
          <a:xfrm>
            <a:off x="6846888"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Text Placeholder 2"/>
          <p:cNvSpPr>
            <a:spLocks noGrp="1"/>
          </p:cNvSpPr>
          <p:nvPr>
            <p:ph type="body" sz="quarter" idx="30"/>
            <p:custDataLst>
              <p:tags r:id="rId4"/>
            </p:custDataLst>
          </p:nvPr>
        </p:nvSpPr>
        <p:spPr>
          <a:xfrm>
            <a:off x="6850063"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243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Section Header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192734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21" name="Freeform 6"/>
          <p:cNvSpPr>
            <a:spLocks/>
          </p:cNvSpPr>
          <p:nvPr userDrawn="1"/>
        </p:nvSpPr>
        <p:spPr bwMode="auto">
          <a:xfrm>
            <a:off x="5506102" y="0"/>
            <a:ext cx="3648058" cy="5697264"/>
          </a:xfrm>
          <a:custGeom>
            <a:avLst/>
            <a:gdLst/>
            <a:ahLst/>
            <a:cxnLst/>
            <a:rect l="l" t="t" r="r" b="b"/>
            <a:pathLst>
              <a:path w="3648058" h="5697264">
                <a:moveTo>
                  <a:pt x="0" y="0"/>
                </a:moveTo>
                <a:lnTo>
                  <a:pt x="634" y="0"/>
                </a:lnTo>
                <a:lnTo>
                  <a:pt x="3648058" y="0"/>
                </a:lnTo>
                <a:lnTo>
                  <a:pt x="3648058" y="5083853"/>
                </a:lnTo>
                <a:lnTo>
                  <a:pt x="3292279" y="569726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9" name="Isosceles Triangle 18"/>
          <p:cNvSpPr/>
          <p:nvPr userDrawn="1"/>
        </p:nvSpPr>
        <p:spPr bwMode="auto">
          <a:xfrm>
            <a:off x="7315116" y="3687235"/>
            <a:ext cx="1839045" cy="3170765"/>
          </a:xfrm>
          <a:custGeom>
            <a:avLst/>
            <a:gdLst/>
            <a:ahLst/>
            <a:cxnLst/>
            <a:rect l="l" t="t" r="r" b="b"/>
            <a:pathLst>
              <a:path w="1839045" h="3170765">
                <a:moveTo>
                  <a:pt x="1839045" y="0"/>
                </a:moveTo>
                <a:lnTo>
                  <a:pt x="1839045" y="3170765"/>
                </a:lnTo>
                <a:lnTo>
                  <a:pt x="0" y="3170765"/>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14" name="Isosceles Triangle 13"/>
          <p:cNvSpPr/>
          <p:nvPr userDrawn="1"/>
        </p:nvSpPr>
        <p:spPr bwMode="auto">
          <a:xfrm>
            <a:off x="7315115" y="4997292"/>
            <a:ext cx="1839045" cy="1860708"/>
          </a:xfrm>
          <a:custGeom>
            <a:avLst/>
            <a:gdLst/>
            <a:ahLst/>
            <a:cxnLst/>
            <a:rect l="l" t="t" r="r" b="b"/>
            <a:pathLst>
              <a:path w="1839045" h="1860708">
                <a:moveTo>
                  <a:pt x="1079211" y="0"/>
                </a:moveTo>
                <a:lnTo>
                  <a:pt x="1839045" y="1310060"/>
                </a:lnTo>
                <a:lnTo>
                  <a:pt x="1839045" y="1860708"/>
                </a:lnTo>
                <a:lnTo>
                  <a:pt x="0" y="1860708"/>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pSp>
        <p:nvGrpSpPr>
          <p:cNvPr id="9" name="Group 8"/>
          <p:cNvGrpSpPr>
            <a:grpSpLocks noChangeAspect="1"/>
          </p:cNvGrpSpPr>
          <p:nvPr userDrawn="1"/>
        </p:nvGrpSpPr>
        <p:grpSpPr>
          <a:xfrm>
            <a:off x="374651" y="6431112"/>
            <a:ext cx="1673352" cy="328463"/>
            <a:chOff x="374651" y="6029325"/>
            <a:chExt cx="2054224" cy="403225"/>
          </a:xfrm>
        </p:grpSpPr>
        <p:sp>
          <p:nvSpPr>
            <p:cNvPr id="10"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2"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3" name="Freeform 12"/>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5" name="Freeform 14"/>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6" name="Freeform 15"/>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7" name="Freeform 16"/>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8" name="Freeform 17"/>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0" name="Freeform 19"/>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2"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3"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4"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5"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6"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7"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8"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9"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0"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961109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ection Header 3">
    <p:spTree>
      <p:nvGrpSpPr>
        <p:cNvPr id="1" name=""/>
        <p:cNvGrpSpPr/>
        <p:nvPr/>
      </p:nvGrpSpPr>
      <p:grpSpPr>
        <a:xfrm>
          <a:off x="0" y="0"/>
          <a:ext cx="0" cy="0"/>
          <a:chOff x="0" y="0"/>
          <a:chExt cx="0" cy="0"/>
        </a:xfrm>
      </p:grpSpPr>
      <p:sp>
        <p:nvSpPr>
          <p:cNvPr id="2" name="Title 1"/>
          <p:cNvSpPr>
            <a:spLocks noGrp="1"/>
          </p:cNvSpPr>
          <p:nvPr>
            <p:ph type="ctrTitle"/>
          </p:nvPr>
        </p:nvSpPr>
        <p:spPr>
          <a:xfrm>
            <a:off x="367506" y="2220544"/>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3223749"/>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4" name="Rectangle 3"/>
          <p:cNvSpPr/>
          <p:nvPr userDrawn="1"/>
        </p:nvSpPr>
        <p:spPr bwMode="auto">
          <a:xfrm>
            <a:off x="0" y="3942080"/>
            <a:ext cx="8034337" cy="2915920"/>
          </a:xfrm>
          <a:custGeom>
            <a:avLst/>
            <a:gdLst>
              <a:gd name="connsiteX0" fmla="*/ 0 w 9142413"/>
              <a:gd name="connsiteY0" fmla="*/ 0 h 2915920"/>
              <a:gd name="connsiteX1" fmla="*/ 9142413 w 9142413"/>
              <a:gd name="connsiteY1" fmla="*/ 0 h 2915920"/>
              <a:gd name="connsiteX2" fmla="*/ 9142413 w 9142413"/>
              <a:gd name="connsiteY2" fmla="*/ 2915920 h 2915920"/>
              <a:gd name="connsiteX3" fmla="*/ 0 w 9142413"/>
              <a:gd name="connsiteY3" fmla="*/ 2915920 h 2915920"/>
              <a:gd name="connsiteX4" fmla="*/ 0 w 9142413"/>
              <a:gd name="connsiteY4" fmla="*/ 0 h 2915920"/>
              <a:gd name="connsiteX0" fmla="*/ 0 w 9142413"/>
              <a:gd name="connsiteY0" fmla="*/ 0 h 2915920"/>
              <a:gd name="connsiteX1" fmla="*/ 9142413 w 9142413"/>
              <a:gd name="connsiteY1" fmla="*/ 2915920 h 2915920"/>
              <a:gd name="connsiteX2" fmla="*/ 0 w 9142413"/>
              <a:gd name="connsiteY2" fmla="*/ 2915920 h 2915920"/>
              <a:gd name="connsiteX3" fmla="*/ 0 w 9142413"/>
              <a:gd name="connsiteY3" fmla="*/ 0 h 2915920"/>
            </a:gdLst>
            <a:ahLst/>
            <a:cxnLst>
              <a:cxn ang="0">
                <a:pos x="connsiteX0" y="connsiteY0"/>
              </a:cxn>
              <a:cxn ang="0">
                <a:pos x="connsiteX1" y="connsiteY1"/>
              </a:cxn>
              <a:cxn ang="0">
                <a:pos x="connsiteX2" y="connsiteY2"/>
              </a:cxn>
              <a:cxn ang="0">
                <a:pos x="connsiteX3" y="connsiteY3"/>
              </a:cxn>
            </a:cxnLst>
            <a:rect l="l" t="t" r="r" b="b"/>
            <a:pathLst>
              <a:path w="9142413" h="2915920">
                <a:moveTo>
                  <a:pt x="0" y="0"/>
                </a:moveTo>
                <a:lnTo>
                  <a:pt x="9142413" y="2915920"/>
                </a:lnTo>
                <a:lnTo>
                  <a:pt x="0" y="2915920"/>
                </a:lnTo>
                <a:lnTo>
                  <a:pt x="0" y="0"/>
                </a:lnTo>
                <a:close/>
              </a:path>
            </a:pathLst>
          </a:cu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59403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tangle 3"/>
          <p:cNvSpPr/>
          <p:nvPr userDrawn="1"/>
        </p:nvSpPr>
        <p:spPr bwMode="auto">
          <a:xfrm flipH="1">
            <a:off x="6443185" y="4140200"/>
            <a:ext cx="2706767" cy="2717800"/>
          </a:xfrm>
          <a:custGeom>
            <a:avLst/>
            <a:gdLst/>
            <a:ahLst/>
            <a:cxnLst/>
            <a:rect l="l" t="t" r="r" b="b"/>
            <a:pathLst>
              <a:path w="2706767" h="2717800">
                <a:moveTo>
                  <a:pt x="0" y="0"/>
                </a:moveTo>
                <a:lnTo>
                  <a:pt x="0" y="2717800"/>
                </a:lnTo>
                <a:lnTo>
                  <a:pt x="2706767" y="2717800"/>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pic>
        <p:nvPicPr>
          <p:cNvPr id="17" name="Picture 1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
        <p:nvSpPr>
          <p:cNvPr id="18" name="Rectangle 3"/>
          <p:cNvSpPr/>
          <p:nvPr userDrawn="1"/>
        </p:nvSpPr>
        <p:spPr bwMode="auto">
          <a:xfrm>
            <a:off x="6443185" y="6433837"/>
            <a:ext cx="1591152" cy="424163"/>
          </a:xfrm>
          <a:custGeom>
            <a:avLst/>
            <a:gdLst/>
            <a:ahLst/>
            <a:cxnLst/>
            <a:rect l="l" t="t" r="r" b="b"/>
            <a:pathLst>
              <a:path w="1591152" h="424163">
                <a:moveTo>
                  <a:pt x="422441" y="0"/>
                </a:moveTo>
                <a:lnTo>
                  <a:pt x="1591152" y="424163"/>
                </a:lnTo>
                <a:lnTo>
                  <a:pt x="0" y="424163"/>
                </a:lnTo>
                <a:close/>
              </a:path>
            </a:pathLst>
          </a:custGeom>
          <a:solidFill>
            <a:schemeClr val="bg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3" name="Rectangle 3"/>
          <p:cNvSpPr/>
          <p:nvPr userDrawn="1"/>
        </p:nvSpPr>
        <p:spPr bwMode="auto">
          <a:xfrm flipH="1">
            <a:off x="7443993" y="5145088"/>
            <a:ext cx="1705959" cy="1712912"/>
          </a:xfrm>
          <a:custGeom>
            <a:avLst/>
            <a:gdLst/>
            <a:ahLst/>
            <a:cxnLst/>
            <a:rect l="l" t="t" r="r" b="b"/>
            <a:pathLst>
              <a:path w="1705959" h="1712912">
                <a:moveTo>
                  <a:pt x="0" y="0"/>
                </a:moveTo>
                <a:lnTo>
                  <a:pt x="0" y="1712912"/>
                </a:lnTo>
                <a:lnTo>
                  <a:pt x="1705959" y="1712912"/>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5" name="Rectangle 3"/>
          <p:cNvSpPr/>
          <p:nvPr userDrawn="1"/>
        </p:nvSpPr>
        <p:spPr bwMode="auto">
          <a:xfrm>
            <a:off x="7443993" y="6700629"/>
            <a:ext cx="590344" cy="157371"/>
          </a:xfrm>
          <a:custGeom>
            <a:avLst/>
            <a:gdLst/>
            <a:ahLst/>
            <a:cxnLst/>
            <a:rect l="l" t="t" r="r" b="b"/>
            <a:pathLst>
              <a:path w="590344" h="157371">
                <a:moveTo>
                  <a:pt x="156733" y="0"/>
                </a:moveTo>
                <a:lnTo>
                  <a:pt x="590344" y="157371"/>
                </a:lnTo>
                <a:lnTo>
                  <a:pt x="0" y="157371"/>
                </a:lnTo>
                <a:close/>
              </a:path>
            </a:pathLst>
          </a:custGeom>
          <a:solidFill>
            <a:srgbClr val="A1052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Tree>
    <p:extLst>
      <p:ext uri="{BB962C8B-B14F-4D97-AF65-F5344CB8AC3E}">
        <p14:creationId xmlns:p14="http://schemas.microsoft.com/office/powerpoint/2010/main" val="4032019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Section Header 4">
    <p:bg>
      <p:bgPr>
        <a:solidFill>
          <a:schemeClr val="accent1"/>
        </a:solidFill>
        <a:effectLst/>
      </p:bgPr>
    </p:bg>
    <p:spTree>
      <p:nvGrpSpPr>
        <p:cNvPr id="1" name=""/>
        <p:cNvGrpSpPr/>
        <p:nvPr/>
      </p:nvGrpSpPr>
      <p:grpSpPr>
        <a:xfrm>
          <a:off x="0" y="0"/>
          <a:ext cx="0" cy="0"/>
          <a:chOff x="0" y="0"/>
          <a:chExt cx="0" cy="0"/>
        </a:xfrm>
      </p:grpSpPr>
      <p:sp>
        <p:nvSpPr>
          <p:cNvPr id="12" name="Freeform 6"/>
          <p:cNvSpPr>
            <a:spLocks/>
          </p:cNvSpPr>
          <p:nvPr userDrawn="1"/>
        </p:nvSpPr>
        <p:spPr bwMode="auto">
          <a:xfrm>
            <a:off x="3425840" y="0"/>
            <a:ext cx="5733420" cy="6858000"/>
          </a:xfrm>
          <a:custGeom>
            <a:avLst/>
            <a:gdLst/>
            <a:ahLst/>
            <a:cxnLst/>
            <a:rect l="l" t="t" r="r" b="b"/>
            <a:pathLst>
              <a:path w="5733420" h="6858000">
                <a:moveTo>
                  <a:pt x="0" y="0"/>
                </a:moveTo>
                <a:lnTo>
                  <a:pt x="634" y="0"/>
                </a:lnTo>
                <a:lnTo>
                  <a:pt x="5733420" y="0"/>
                </a:lnTo>
                <a:lnTo>
                  <a:pt x="5729588" y="6858000"/>
                </a:lnTo>
                <a:lnTo>
                  <a:pt x="3963034" y="685800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09692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bg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19" name="Isosceles Triangle 18"/>
          <p:cNvSpPr/>
          <p:nvPr userDrawn="1"/>
        </p:nvSpPr>
        <p:spPr bwMode="auto">
          <a:xfrm>
            <a:off x="7496175" y="3993931"/>
            <a:ext cx="1661161" cy="2864069"/>
          </a:xfrm>
          <a:custGeom>
            <a:avLst/>
            <a:gdLst/>
            <a:ahLst/>
            <a:cxnLst/>
            <a:rect l="l" t="t" r="r" b="b"/>
            <a:pathLst>
              <a:path w="1661161" h="2864069">
                <a:moveTo>
                  <a:pt x="1661161" y="0"/>
                </a:moveTo>
                <a:lnTo>
                  <a:pt x="1661161" y="2864069"/>
                </a:lnTo>
                <a:lnTo>
                  <a:pt x="0" y="2864069"/>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1" name="Freeform 6"/>
          <p:cNvSpPr>
            <a:spLocks/>
          </p:cNvSpPr>
          <p:nvPr userDrawn="1"/>
        </p:nvSpPr>
        <p:spPr bwMode="auto">
          <a:xfrm>
            <a:off x="4879047" y="0"/>
            <a:ext cx="4280213" cy="5697264"/>
          </a:xfrm>
          <a:custGeom>
            <a:avLst/>
            <a:gdLst/>
            <a:ahLst/>
            <a:cxnLst/>
            <a:rect l="l" t="t" r="r" b="b"/>
            <a:pathLst>
              <a:path w="4280213" h="5697264">
                <a:moveTo>
                  <a:pt x="0" y="0"/>
                </a:moveTo>
                <a:lnTo>
                  <a:pt x="634" y="0"/>
                </a:lnTo>
                <a:lnTo>
                  <a:pt x="4280213" y="0"/>
                </a:lnTo>
                <a:lnTo>
                  <a:pt x="4280213" y="3993931"/>
                </a:lnTo>
                <a:lnTo>
                  <a:pt x="3292279" y="569726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4" name="Isosceles Triangle 13"/>
          <p:cNvSpPr/>
          <p:nvPr userDrawn="1"/>
        </p:nvSpPr>
        <p:spPr bwMode="auto">
          <a:xfrm>
            <a:off x="7496175" y="5696782"/>
            <a:ext cx="1347013" cy="1161218"/>
          </a:xfrm>
          <a:prstGeom prst="triangle">
            <a:avLst/>
          </a:pr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106069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lor Background 2">
    <p:spTree>
      <p:nvGrpSpPr>
        <p:cNvPr id="1" name=""/>
        <p:cNvGrpSpPr/>
        <p:nvPr/>
      </p:nvGrpSpPr>
      <p:grpSpPr>
        <a:xfrm>
          <a:off x="0" y="0"/>
          <a:ext cx="0" cy="0"/>
          <a:chOff x="0" y="0"/>
          <a:chExt cx="0" cy="0"/>
        </a:xfrm>
      </p:grpSpPr>
      <p:sp>
        <p:nvSpPr>
          <p:cNvPr id="9" name="Rectangle 8"/>
          <p:cNvSpPr/>
          <p:nvPr userDrawn="1"/>
        </p:nvSpPr>
        <p:spPr bwMode="auto">
          <a:xfrm>
            <a:off x="0" y="0"/>
            <a:ext cx="9144000" cy="6216650"/>
          </a:xfrm>
          <a:prstGeom prst="rect">
            <a:avLst/>
          </a:prstGeom>
          <a:solidFill>
            <a:schemeClr val="accent3"/>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0" name="Rectangle 16"/>
          <p:cNvSpPr/>
          <p:nvPr userDrawn="1"/>
        </p:nvSpPr>
        <p:spPr bwMode="auto">
          <a:xfrm>
            <a:off x="0" y="0"/>
            <a:ext cx="6496088" cy="6216650"/>
          </a:xfrm>
          <a:custGeom>
            <a:avLst/>
            <a:gdLst/>
            <a:ahLst/>
            <a:cxnLst/>
            <a:rect l="l" t="t" r="r" b="b"/>
            <a:pathLst>
              <a:path w="6496088" h="6216650">
                <a:moveTo>
                  <a:pt x="0" y="0"/>
                </a:moveTo>
                <a:lnTo>
                  <a:pt x="6496088" y="0"/>
                </a:lnTo>
                <a:cubicBezTo>
                  <a:pt x="6224151" y="475381"/>
                  <a:pt x="2923062" y="6156962"/>
                  <a:pt x="2900554" y="6216650"/>
                </a:cubicBezTo>
                <a:lnTo>
                  <a:pt x="0" y="6216650"/>
                </a:lnTo>
                <a:close/>
              </a:path>
            </a:pathLst>
          </a:custGeom>
          <a:solidFill>
            <a:schemeClr val="accent1"/>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1" name="Rectangle 12"/>
          <p:cNvSpPr/>
          <p:nvPr userDrawn="1"/>
        </p:nvSpPr>
        <p:spPr bwMode="auto">
          <a:xfrm>
            <a:off x="1" y="0"/>
            <a:ext cx="1179707" cy="2041416"/>
          </a:xfrm>
          <a:custGeom>
            <a:avLst/>
            <a:gdLst/>
            <a:ahLst/>
            <a:cxnLst/>
            <a:rect l="l" t="t" r="r" b="b"/>
            <a:pathLst>
              <a:path w="1179707" h="2041416">
                <a:moveTo>
                  <a:pt x="0" y="0"/>
                </a:moveTo>
                <a:lnTo>
                  <a:pt x="1179707" y="0"/>
                </a:lnTo>
                <a:cubicBezTo>
                  <a:pt x="667559" y="883988"/>
                  <a:pt x="213348" y="1669135"/>
                  <a:pt x="0" y="2041416"/>
                </a:cubicBezTo>
                <a:close/>
              </a:path>
            </a:pathLst>
          </a:custGeom>
          <a:solidFill>
            <a:schemeClr val="bg2"/>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2" name="Rectangle 9"/>
          <p:cNvSpPr/>
          <p:nvPr userDrawn="1"/>
        </p:nvSpPr>
        <p:spPr bwMode="auto">
          <a:xfrm>
            <a:off x="7596336" y="3534372"/>
            <a:ext cx="1547664" cy="2682279"/>
          </a:xfrm>
          <a:custGeom>
            <a:avLst/>
            <a:gdLst/>
            <a:ahLst/>
            <a:cxnLst/>
            <a:rect l="l" t="t" r="r" b="b"/>
            <a:pathLst>
              <a:path w="1547664" h="2682279">
                <a:moveTo>
                  <a:pt x="1547664" y="0"/>
                </a:moveTo>
                <a:lnTo>
                  <a:pt x="1547664" y="2682279"/>
                </a:lnTo>
                <a:lnTo>
                  <a:pt x="0" y="2682279"/>
                </a:lnTo>
                <a:cubicBezTo>
                  <a:pt x="10572" y="2654246"/>
                  <a:pt x="744233" y="1386307"/>
                  <a:pt x="1547664" y="0"/>
                </a:cubicBezTo>
                <a:close/>
              </a:path>
            </a:pathLst>
          </a:custGeom>
          <a:solidFill>
            <a:schemeClr val="accent4"/>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3" name="Rectangle 17"/>
          <p:cNvSpPr/>
          <p:nvPr userDrawn="1"/>
        </p:nvSpPr>
        <p:spPr bwMode="auto">
          <a:xfrm>
            <a:off x="8596064" y="5261240"/>
            <a:ext cx="547936" cy="955410"/>
          </a:xfrm>
          <a:custGeom>
            <a:avLst/>
            <a:gdLst/>
            <a:ahLst/>
            <a:cxnLst/>
            <a:rect l="l" t="t" r="r" b="b"/>
            <a:pathLst>
              <a:path w="547936" h="955410">
                <a:moveTo>
                  <a:pt x="547936" y="0"/>
                </a:moveTo>
                <a:lnTo>
                  <a:pt x="547936" y="955410"/>
                </a:lnTo>
                <a:lnTo>
                  <a:pt x="0" y="955410"/>
                </a:lnTo>
                <a:cubicBezTo>
                  <a:pt x="5725" y="940240"/>
                  <a:pt x="222775" y="562702"/>
                  <a:pt x="547936" y="0"/>
                </a:cubicBezTo>
                <a:close/>
              </a:path>
            </a:pathLst>
          </a:custGeom>
          <a:solidFill>
            <a:srgbClr val="A10524"/>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2" name="Title 1"/>
          <p:cNvSpPr>
            <a:spLocks noGrp="1"/>
          </p:cNvSpPr>
          <p:nvPr>
            <p:ph type="title"/>
          </p:nvPr>
        </p:nvSpPr>
        <p:spPr>
          <a:xfrm>
            <a:off x="302578" y="2431217"/>
            <a:ext cx="8526244" cy="677108"/>
          </a:xfrm>
        </p:spPr>
        <p:txBody>
          <a:bodyPr lIns="91440" tIns="91440" rIns="91440" bIns="91440" anchor="ctr" anchorCtr="0"/>
          <a:lstStyle>
            <a:lvl1pPr algn="ctr">
              <a:defRPr sz="4000" baseline="0">
                <a:solidFill>
                  <a:schemeClr val="bg1"/>
                </a:solidFill>
              </a:defRPr>
            </a:lvl1pPr>
          </a:lstStyle>
          <a:p>
            <a:r>
              <a:rPr lang="en-US" noProof="0"/>
              <a:t>Click to edit Master title style</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4243149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Color Background with Title and Conten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solidFill>
                  <a:schemeClr val="bg1"/>
                </a:solidFill>
              </a:defRPr>
            </a:lvl1pPr>
          </a:lstStyle>
          <a:p>
            <a:r>
              <a:rPr lang="en-US" noProof="0"/>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solidFill>
                  <a:schemeClr val="bg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7" name="Freeform 783"/>
          <p:cNvSpPr>
            <a:spLocks/>
          </p:cNvSpPr>
          <p:nvPr userDrawn="1"/>
        </p:nvSpPr>
        <p:spPr bwMode="auto">
          <a:xfrm>
            <a:off x="8256901" y="5314384"/>
            <a:ext cx="897577" cy="1552352"/>
          </a:xfrm>
          <a:custGeom>
            <a:avLst/>
            <a:gdLst/>
            <a:ahLst/>
            <a:cxnLst/>
            <a:rect l="l" t="t" r="r" b="b"/>
            <a:pathLst>
              <a:path w="897577" h="1552352">
                <a:moveTo>
                  <a:pt x="897577" y="0"/>
                </a:moveTo>
                <a:lnTo>
                  <a:pt x="897577" y="917479"/>
                </a:lnTo>
                <a:lnTo>
                  <a:pt x="897577" y="917480"/>
                </a:lnTo>
                <a:lnTo>
                  <a:pt x="897577" y="1552352"/>
                </a:lnTo>
                <a:lnTo>
                  <a:pt x="736372" y="1552352"/>
                </a:lnTo>
                <a:lnTo>
                  <a:pt x="736371" y="1552352"/>
                </a:lnTo>
                <a:lnTo>
                  <a:pt x="0" y="1552352"/>
                </a:lnTo>
                <a:lnTo>
                  <a:pt x="368185" y="917480"/>
                </a:lnTo>
                <a:lnTo>
                  <a:pt x="368185" y="917480"/>
                </a:lnTo>
                <a:lnTo>
                  <a:pt x="368185" y="917480"/>
                </a:lnTo>
                <a:lnTo>
                  <a:pt x="368185" y="917479"/>
                </a:lnTo>
                <a:lnTo>
                  <a:pt x="368186" y="917479"/>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4D4D4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1118562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or Background with 3 Columns">
    <p:bg>
      <p:bgPr>
        <a:solidFill>
          <a:schemeClr val="accent1"/>
        </a:solidFill>
        <a:effectLst/>
      </p:bgPr>
    </p:bg>
    <p:spTree>
      <p:nvGrpSpPr>
        <p:cNvPr id="1" name=""/>
        <p:cNvGrpSpPr/>
        <p:nvPr/>
      </p:nvGrpSpPr>
      <p:grpSpPr>
        <a:xfrm>
          <a:off x="0" y="0"/>
          <a:ext cx="0" cy="0"/>
          <a:chOff x="0" y="0"/>
          <a:chExt cx="0" cy="0"/>
        </a:xfrm>
      </p:grpSpPr>
      <p:sp>
        <p:nvSpPr>
          <p:cNvPr id="8" name="Freeform 783"/>
          <p:cNvSpPr>
            <a:spLocks/>
          </p:cNvSpPr>
          <p:nvPr userDrawn="1"/>
        </p:nvSpPr>
        <p:spPr bwMode="auto">
          <a:xfrm>
            <a:off x="8256901" y="5314384"/>
            <a:ext cx="897577" cy="1552352"/>
          </a:xfrm>
          <a:custGeom>
            <a:avLst/>
            <a:gdLst/>
            <a:ahLst/>
            <a:cxnLst/>
            <a:rect l="l" t="t" r="r" b="b"/>
            <a:pathLst>
              <a:path w="897577" h="1552352">
                <a:moveTo>
                  <a:pt x="897577" y="0"/>
                </a:moveTo>
                <a:lnTo>
                  <a:pt x="897577" y="917479"/>
                </a:lnTo>
                <a:lnTo>
                  <a:pt x="897577" y="917480"/>
                </a:lnTo>
                <a:lnTo>
                  <a:pt x="897577" y="1552352"/>
                </a:lnTo>
                <a:lnTo>
                  <a:pt x="736372" y="1552352"/>
                </a:lnTo>
                <a:lnTo>
                  <a:pt x="736371" y="1552352"/>
                </a:lnTo>
                <a:lnTo>
                  <a:pt x="0" y="1552352"/>
                </a:lnTo>
                <a:lnTo>
                  <a:pt x="368185" y="917480"/>
                </a:lnTo>
                <a:lnTo>
                  <a:pt x="368185" y="917480"/>
                </a:lnTo>
                <a:lnTo>
                  <a:pt x="368185" y="917480"/>
                </a:lnTo>
                <a:lnTo>
                  <a:pt x="368185" y="917479"/>
                </a:lnTo>
                <a:lnTo>
                  <a:pt x="368186" y="917479"/>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4D4D4F"/>
              </a:solidFill>
            </a:endParaRPr>
          </a:p>
        </p:txBody>
      </p:sp>
      <p:sp>
        <p:nvSpPr>
          <p:cNvPr id="2" name="Title 1"/>
          <p:cNvSpPr>
            <a:spLocks noGrp="1"/>
          </p:cNvSpPr>
          <p:nvPr>
            <p:ph type="title"/>
          </p:nvPr>
        </p:nvSpPr>
        <p:spPr>
          <a:xfrm>
            <a:off x="363538" y="629512"/>
            <a:ext cx="8526244" cy="347472"/>
          </a:xfrm>
        </p:spPr>
        <p:txBody>
          <a:bodyPr/>
          <a:lstStyle>
            <a:lvl1pPr>
              <a:defRPr baseline="0">
                <a:solidFill>
                  <a:schemeClr val="bg1"/>
                </a:solidFill>
              </a:defRPr>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2725102" cy="4343400"/>
          </a:xfrm>
        </p:spPr>
        <p:txBody>
          <a:bodyPr/>
          <a:lstStyle>
            <a:lvl1pPr marL="0" indent="0">
              <a:spcBef>
                <a:spcPts val="0"/>
              </a:spcBef>
              <a:spcAft>
                <a:spcPts val="600"/>
              </a:spcAft>
              <a:buClr>
                <a:schemeClr val="bg1"/>
              </a:buClr>
              <a:buFont typeface="Arial" panose="020B0604020202020204" pitchFamily="34" charset="0"/>
              <a:buChar char="​"/>
              <a:defRPr sz="1600" b="1">
                <a:solidFill>
                  <a:schemeClr val="bg1"/>
                </a:solidFill>
              </a:defRPr>
            </a:lvl1pPr>
            <a:lvl2pPr marL="233363" indent="-233363">
              <a:buClr>
                <a:schemeClr val="bg1"/>
              </a:buClr>
              <a:defRPr sz="1400">
                <a:solidFill>
                  <a:schemeClr val="bg1"/>
                </a:solidFill>
              </a:defRPr>
            </a:lvl2pPr>
            <a:lvl3pPr marL="457200" indent="-223838">
              <a:buClr>
                <a:schemeClr val="bg1"/>
              </a:buClr>
              <a:buFont typeface="Arial" panose="020B0604020202020204" pitchFamily="34" charset="0"/>
              <a:buChar char="»"/>
              <a:defRPr sz="1400">
                <a:solidFill>
                  <a:schemeClr val="bg1"/>
                </a:solidFill>
              </a:defRPr>
            </a:lvl3pPr>
            <a:lvl4pPr marL="690563" indent="-233363">
              <a:buClr>
                <a:schemeClr val="bg1"/>
              </a:buClr>
              <a:defRPr sz="1200">
                <a:solidFill>
                  <a:schemeClr val="bg1"/>
                </a:solidFill>
              </a:defRPr>
            </a:lvl4pPr>
            <a:lvl5pPr marL="974725" indent="-284163">
              <a:buClr>
                <a:schemeClr val="bg1"/>
              </a:buClr>
              <a:defRPr sz="1200">
                <a:solidFill>
                  <a:schemeClr val="bg1"/>
                </a:solidFill>
              </a:defRPr>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Content Placeholder 4"/>
          <p:cNvSpPr>
            <a:spLocks noGrp="1"/>
          </p:cNvSpPr>
          <p:nvPr>
            <p:ph sz="quarter" idx="17"/>
          </p:nvPr>
        </p:nvSpPr>
        <p:spPr>
          <a:xfrm>
            <a:off x="3217482" y="1206500"/>
            <a:ext cx="2724912" cy="4338638"/>
          </a:xfrm>
        </p:spPr>
        <p:txBody>
          <a:bodyPr/>
          <a:lstStyle>
            <a:lvl1pPr marL="0" indent="0">
              <a:spcBef>
                <a:spcPts val="0"/>
              </a:spcBef>
              <a:spcAft>
                <a:spcPts val="600"/>
              </a:spcAft>
              <a:buClr>
                <a:schemeClr val="bg1"/>
              </a:buClr>
              <a:buFont typeface="Arial" panose="020B0604020202020204" pitchFamily="34" charset="0"/>
              <a:buChar char="​"/>
              <a:defRPr sz="1600" b="1">
                <a:solidFill>
                  <a:schemeClr val="bg1"/>
                </a:solidFill>
              </a:defRPr>
            </a:lvl1pPr>
            <a:lvl2pPr marL="233363" indent="-233363">
              <a:buClr>
                <a:schemeClr val="bg1"/>
              </a:buClr>
              <a:defRPr sz="1400">
                <a:solidFill>
                  <a:schemeClr val="bg1"/>
                </a:solidFill>
              </a:defRPr>
            </a:lvl2pPr>
            <a:lvl3pPr marL="457200" indent="-223838">
              <a:buClr>
                <a:schemeClr val="bg1"/>
              </a:buClr>
              <a:defRPr sz="1400">
                <a:solidFill>
                  <a:schemeClr val="bg1"/>
                </a:solidFill>
              </a:defRPr>
            </a:lvl3pPr>
            <a:lvl4pPr marL="690563" indent="-233363">
              <a:buClr>
                <a:schemeClr val="bg1"/>
              </a:buClr>
              <a:defRPr sz="1200">
                <a:solidFill>
                  <a:schemeClr val="bg1"/>
                </a:solidFill>
              </a:defRPr>
            </a:lvl4pPr>
            <a:lvl5pPr marL="914400" indent="-223838">
              <a:buClr>
                <a:schemeClr val="bg1"/>
              </a:buCl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8"/>
          </p:nvPr>
        </p:nvSpPr>
        <p:spPr>
          <a:xfrm>
            <a:off x="6071235" y="1206500"/>
            <a:ext cx="2736850" cy="4357688"/>
          </a:xfrm>
        </p:spPr>
        <p:txBody>
          <a:bodyPr/>
          <a:lstStyle>
            <a:lvl1pPr marL="0" indent="0">
              <a:spcBef>
                <a:spcPts val="0"/>
              </a:spcBef>
              <a:spcAft>
                <a:spcPts val="600"/>
              </a:spcAft>
              <a:buClr>
                <a:schemeClr val="bg1"/>
              </a:buClr>
              <a:buFont typeface="Arial" panose="020B0604020202020204" pitchFamily="34" charset="0"/>
              <a:buChar char="​"/>
              <a:defRPr sz="1600" b="1">
                <a:solidFill>
                  <a:schemeClr val="bg1"/>
                </a:solidFill>
              </a:defRPr>
            </a:lvl1pPr>
            <a:lvl2pPr marL="233363" indent="-233363">
              <a:buClr>
                <a:schemeClr val="bg1"/>
              </a:buClr>
              <a:defRPr sz="1400">
                <a:solidFill>
                  <a:schemeClr val="bg1"/>
                </a:solidFill>
              </a:defRPr>
            </a:lvl2pPr>
            <a:lvl3pPr marL="457200" indent="-223838">
              <a:buClr>
                <a:schemeClr val="bg1"/>
              </a:buClr>
              <a:defRPr sz="1400">
                <a:solidFill>
                  <a:schemeClr val="bg1"/>
                </a:solidFill>
              </a:defRPr>
            </a:lvl3pPr>
            <a:lvl4pPr marL="690563" indent="-233363">
              <a:buClr>
                <a:schemeClr val="bg1"/>
              </a:buClr>
              <a:defRPr sz="1200">
                <a:solidFill>
                  <a:schemeClr val="bg1"/>
                </a:solidFill>
              </a:defRPr>
            </a:lvl4pPr>
            <a:lvl5pPr marL="914400" indent="-223838">
              <a:buClr>
                <a:schemeClr val="bg1"/>
              </a:buCl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1377004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Freeform 3"/>
          <p:cNvSpPr/>
          <p:nvPr userDrawn="1"/>
        </p:nvSpPr>
        <p:spPr bwMode="auto">
          <a:xfrm>
            <a:off x="6661150" y="0"/>
            <a:ext cx="2503488" cy="6858000"/>
          </a:xfrm>
          <a:custGeom>
            <a:avLst/>
            <a:gdLst>
              <a:gd name="connsiteX0" fmla="*/ 2241550 w 2503488"/>
              <a:gd name="connsiteY0" fmla="*/ 0 h 6858000"/>
              <a:gd name="connsiteX1" fmla="*/ 2503488 w 2503488"/>
              <a:gd name="connsiteY1" fmla="*/ 0 h 6858000"/>
              <a:gd name="connsiteX2" fmla="*/ 2503488 w 2503488"/>
              <a:gd name="connsiteY2" fmla="*/ 1701800 h 6858000"/>
              <a:gd name="connsiteX3" fmla="*/ 2491822 w 2503488"/>
              <a:gd name="connsiteY3" fmla="*/ 1681541 h 6858000"/>
              <a:gd name="connsiteX4" fmla="*/ 2491822 w 2503488"/>
              <a:gd name="connsiteY4" fmla="*/ 1681542 h 6858000"/>
              <a:gd name="connsiteX5" fmla="*/ 2503488 w 2503488"/>
              <a:gd name="connsiteY5" fmla="*/ 1701801 h 6858000"/>
              <a:gd name="connsiteX6" fmla="*/ 2503488 w 2503488"/>
              <a:gd name="connsiteY6" fmla="*/ 3879850 h 6858000"/>
              <a:gd name="connsiteX7" fmla="*/ 2503488 w 2503488"/>
              <a:gd name="connsiteY7" fmla="*/ 3879851 h 6858000"/>
              <a:gd name="connsiteX8" fmla="*/ 2503488 w 2503488"/>
              <a:gd name="connsiteY8" fmla="*/ 6057900 h 6858000"/>
              <a:gd name="connsiteX9" fmla="*/ 2039938 w 2503488"/>
              <a:gd name="connsiteY9" fmla="*/ 6858000 h 6858000"/>
              <a:gd name="connsiteX10" fmla="*/ 1722438 w 2503488"/>
              <a:gd name="connsiteY10" fmla="*/ 6858000 h 6858000"/>
              <a:gd name="connsiteX11" fmla="*/ 1 w 2503488"/>
              <a:gd name="connsiteY11" fmla="*/ 3879851 h 6858000"/>
              <a:gd name="connsiteX12" fmla="*/ 0 w 2503488"/>
              <a:gd name="connsiteY12" fmla="*/ 3879851 h 6858000"/>
              <a:gd name="connsiteX13" fmla="*/ 0 w 2503488"/>
              <a:gd name="connsiteY13" fmla="*/ 3879850 h 6858000"/>
              <a:gd name="connsiteX14" fmla="*/ 1 w 2503488"/>
              <a:gd name="connsiteY14" fmla="*/ 3879850 h 6858000"/>
              <a:gd name="connsiteX15" fmla="*/ 1722691 w 2503488"/>
              <a:gd name="connsiteY15" fmla="*/ 900729 h 6858000"/>
              <a:gd name="connsiteX16" fmla="*/ 1766524 w 2503488"/>
              <a:gd name="connsiteY16" fmla="*/ 824925 h 6858000"/>
              <a:gd name="connsiteX17" fmla="*/ 1882775 w 2503488"/>
              <a:gd name="connsiteY17" fmla="*/ 623888 h 6858000"/>
              <a:gd name="connsiteX18" fmla="*/ 1902681 w 2503488"/>
              <a:gd name="connsiteY18" fmla="*/ 658455 h 6858000"/>
              <a:gd name="connsiteX19" fmla="*/ 1882775 w 2503488"/>
              <a:gd name="connsiteY19" fmla="*/ 623887 h 6858000"/>
              <a:gd name="connsiteX20" fmla="*/ 2241550 w 2503488"/>
              <a:gd name="connsiteY20"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491822 w 2503488"/>
              <a:gd name="connsiteY3" fmla="*/ 1681541 h 6858000"/>
              <a:gd name="connsiteX4" fmla="*/ 2503488 w 2503488"/>
              <a:gd name="connsiteY4" fmla="*/ 1701801 h 6858000"/>
              <a:gd name="connsiteX5" fmla="*/ 2503488 w 2503488"/>
              <a:gd name="connsiteY5" fmla="*/ 3879850 h 6858000"/>
              <a:gd name="connsiteX6" fmla="*/ 2503488 w 2503488"/>
              <a:gd name="connsiteY6" fmla="*/ 3879851 h 6858000"/>
              <a:gd name="connsiteX7" fmla="*/ 2503488 w 2503488"/>
              <a:gd name="connsiteY7" fmla="*/ 6057900 h 6858000"/>
              <a:gd name="connsiteX8" fmla="*/ 2039938 w 2503488"/>
              <a:gd name="connsiteY8" fmla="*/ 6858000 h 6858000"/>
              <a:gd name="connsiteX9" fmla="*/ 1722438 w 2503488"/>
              <a:gd name="connsiteY9" fmla="*/ 6858000 h 6858000"/>
              <a:gd name="connsiteX10" fmla="*/ 1 w 2503488"/>
              <a:gd name="connsiteY10" fmla="*/ 3879851 h 6858000"/>
              <a:gd name="connsiteX11" fmla="*/ 0 w 2503488"/>
              <a:gd name="connsiteY11" fmla="*/ 3879851 h 6858000"/>
              <a:gd name="connsiteX12" fmla="*/ 0 w 2503488"/>
              <a:gd name="connsiteY12" fmla="*/ 3879850 h 6858000"/>
              <a:gd name="connsiteX13" fmla="*/ 1 w 2503488"/>
              <a:gd name="connsiteY13" fmla="*/ 3879850 h 6858000"/>
              <a:gd name="connsiteX14" fmla="*/ 1722691 w 2503488"/>
              <a:gd name="connsiteY14" fmla="*/ 900729 h 6858000"/>
              <a:gd name="connsiteX15" fmla="*/ 1766524 w 2503488"/>
              <a:gd name="connsiteY15" fmla="*/ 824925 h 6858000"/>
              <a:gd name="connsiteX16" fmla="*/ 1882775 w 2503488"/>
              <a:gd name="connsiteY16" fmla="*/ 623888 h 6858000"/>
              <a:gd name="connsiteX17" fmla="*/ 1902681 w 2503488"/>
              <a:gd name="connsiteY17" fmla="*/ 658455 h 6858000"/>
              <a:gd name="connsiteX18" fmla="*/ 1882775 w 2503488"/>
              <a:gd name="connsiteY18" fmla="*/ 623887 h 6858000"/>
              <a:gd name="connsiteX19" fmla="*/ 2241550 w 2503488"/>
              <a:gd name="connsiteY19"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503488 w 2503488"/>
              <a:gd name="connsiteY3" fmla="*/ 1701801 h 6858000"/>
              <a:gd name="connsiteX4" fmla="*/ 2503488 w 2503488"/>
              <a:gd name="connsiteY4" fmla="*/ 3879850 h 6858000"/>
              <a:gd name="connsiteX5" fmla="*/ 2503488 w 2503488"/>
              <a:gd name="connsiteY5" fmla="*/ 3879851 h 6858000"/>
              <a:gd name="connsiteX6" fmla="*/ 2503488 w 2503488"/>
              <a:gd name="connsiteY6" fmla="*/ 6057900 h 6858000"/>
              <a:gd name="connsiteX7" fmla="*/ 2039938 w 2503488"/>
              <a:gd name="connsiteY7" fmla="*/ 6858000 h 6858000"/>
              <a:gd name="connsiteX8" fmla="*/ 1722438 w 2503488"/>
              <a:gd name="connsiteY8" fmla="*/ 6858000 h 6858000"/>
              <a:gd name="connsiteX9" fmla="*/ 1 w 2503488"/>
              <a:gd name="connsiteY9" fmla="*/ 3879851 h 6858000"/>
              <a:gd name="connsiteX10" fmla="*/ 0 w 2503488"/>
              <a:gd name="connsiteY10" fmla="*/ 3879851 h 6858000"/>
              <a:gd name="connsiteX11" fmla="*/ 0 w 2503488"/>
              <a:gd name="connsiteY11" fmla="*/ 3879850 h 6858000"/>
              <a:gd name="connsiteX12" fmla="*/ 1 w 2503488"/>
              <a:gd name="connsiteY12" fmla="*/ 3879850 h 6858000"/>
              <a:gd name="connsiteX13" fmla="*/ 1722691 w 2503488"/>
              <a:gd name="connsiteY13" fmla="*/ 900729 h 6858000"/>
              <a:gd name="connsiteX14" fmla="*/ 1766524 w 2503488"/>
              <a:gd name="connsiteY14" fmla="*/ 824925 h 6858000"/>
              <a:gd name="connsiteX15" fmla="*/ 1882775 w 2503488"/>
              <a:gd name="connsiteY15" fmla="*/ 623888 h 6858000"/>
              <a:gd name="connsiteX16" fmla="*/ 1902681 w 2503488"/>
              <a:gd name="connsiteY16" fmla="*/ 658455 h 6858000"/>
              <a:gd name="connsiteX17" fmla="*/ 1882775 w 2503488"/>
              <a:gd name="connsiteY17" fmla="*/ 623887 h 6858000"/>
              <a:gd name="connsiteX18" fmla="*/ 2241550 w 2503488"/>
              <a:gd name="connsiteY18"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503488 w 2503488"/>
              <a:gd name="connsiteY3" fmla="*/ 3879850 h 6858000"/>
              <a:gd name="connsiteX4" fmla="*/ 2503488 w 2503488"/>
              <a:gd name="connsiteY4" fmla="*/ 3879851 h 6858000"/>
              <a:gd name="connsiteX5" fmla="*/ 2503488 w 2503488"/>
              <a:gd name="connsiteY5" fmla="*/ 6057900 h 6858000"/>
              <a:gd name="connsiteX6" fmla="*/ 2039938 w 2503488"/>
              <a:gd name="connsiteY6" fmla="*/ 6858000 h 6858000"/>
              <a:gd name="connsiteX7" fmla="*/ 1722438 w 2503488"/>
              <a:gd name="connsiteY7" fmla="*/ 6858000 h 6858000"/>
              <a:gd name="connsiteX8" fmla="*/ 1 w 2503488"/>
              <a:gd name="connsiteY8" fmla="*/ 3879851 h 6858000"/>
              <a:gd name="connsiteX9" fmla="*/ 0 w 2503488"/>
              <a:gd name="connsiteY9" fmla="*/ 3879851 h 6858000"/>
              <a:gd name="connsiteX10" fmla="*/ 0 w 2503488"/>
              <a:gd name="connsiteY10" fmla="*/ 3879850 h 6858000"/>
              <a:gd name="connsiteX11" fmla="*/ 1 w 2503488"/>
              <a:gd name="connsiteY11" fmla="*/ 3879850 h 6858000"/>
              <a:gd name="connsiteX12" fmla="*/ 1722691 w 2503488"/>
              <a:gd name="connsiteY12" fmla="*/ 900729 h 6858000"/>
              <a:gd name="connsiteX13" fmla="*/ 1766524 w 2503488"/>
              <a:gd name="connsiteY13" fmla="*/ 824925 h 6858000"/>
              <a:gd name="connsiteX14" fmla="*/ 1882775 w 2503488"/>
              <a:gd name="connsiteY14" fmla="*/ 623888 h 6858000"/>
              <a:gd name="connsiteX15" fmla="*/ 1902681 w 2503488"/>
              <a:gd name="connsiteY15" fmla="*/ 658455 h 6858000"/>
              <a:gd name="connsiteX16" fmla="*/ 1882775 w 2503488"/>
              <a:gd name="connsiteY16" fmla="*/ 623887 h 6858000"/>
              <a:gd name="connsiteX17" fmla="*/ 2241550 w 2503488"/>
              <a:gd name="connsiteY17"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1902681 w 2503488"/>
              <a:gd name="connsiteY14" fmla="*/ 658455 h 6858000"/>
              <a:gd name="connsiteX15" fmla="*/ 1882775 w 2503488"/>
              <a:gd name="connsiteY15" fmla="*/ 623887 h 6858000"/>
              <a:gd name="connsiteX16" fmla="*/ 2241550 w 2503488"/>
              <a:gd name="connsiteY16"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1882775 w 2503488"/>
              <a:gd name="connsiteY14" fmla="*/ 623887 h 6858000"/>
              <a:gd name="connsiteX15" fmla="*/ 2241550 w 2503488"/>
              <a:gd name="connsiteY15"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2241550 w 2503488"/>
              <a:gd name="connsiteY14"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2241550 w 2503488"/>
              <a:gd name="connsiteY13"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66524 w 2503488"/>
              <a:gd name="connsiteY11" fmla="*/ 824925 h 6858000"/>
              <a:gd name="connsiteX12" fmla="*/ 2241550 w 2503488"/>
              <a:gd name="connsiteY12"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3488" h="6858000">
                <a:moveTo>
                  <a:pt x="2241550" y="0"/>
                </a:moveTo>
                <a:lnTo>
                  <a:pt x="2503488" y="0"/>
                </a:lnTo>
                <a:lnTo>
                  <a:pt x="2503488" y="3879850"/>
                </a:lnTo>
                <a:lnTo>
                  <a:pt x="2503488" y="3879851"/>
                </a:lnTo>
                <a:lnTo>
                  <a:pt x="2503488" y="6057900"/>
                </a:lnTo>
                <a:lnTo>
                  <a:pt x="2039938" y="6858000"/>
                </a:lnTo>
                <a:lnTo>
                  <a:pt x="1722438" y="6858000"/>
                </a:lnTo>
                <a:lnTo>
                  <a:pt x="1" y="3879851"/>
                </a:lnTo>
                <a:lnTo>
                  <a:pt x="0" y="3879851"/>
                </a:lnTo>
                <a:lnTo>
                  <a:pt x="0" y="3879850"/>
                </a:lnTo>
                <a:lnTo>
                  <a:pt x="1" y="3879850"/>
                </a:lnTo>
                <a:lnTo>
                  <a:pt x="1766524" y="824925"/>
                </a:lnTo>
                <a:lnTo>
                  <a:pt x="2241550"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5" name="Freeform 6"/>
          <p:cNvSpPr>
            <a:spLocks/>
          </p:cNvSpPr>
          <p:nvPr userDrawn="1"/>
        </p:nvSpPr>
        <p:spPr bwMode="auto">
          <a:xfrm>
            <a:off x="4420553" y="0"/>
            <a:ext cx="4742180" cy="3877946"/>
          </a:xfrm>
          <a:custGeom>
            <a:avLst/>
            <a:gdLst>
              <a:gd name="connsiteX0" fmla="*/ 0 w 4742180"/>
              <a:gd name="connsiteY0" fmla="*/ 0 h 3877946"/>
              <a:gd name="connsiteX1" fmla="*/ 3760788 w 4742180"/>
              <a:gd name="connsiteY1" fmla="*/ 0 h 3877946"/>
              <a:gd name="connsiteX2" fmla="*/ 4120670 w 4742180"/>
              <a:gd name="connsiteY2" fmla="*/ 623361 h 3877946"/>
              <a:gd name="connsiteX3" fmla="*/ 4121467 w 4742180"/>
              <a:gd name="connsiteY3" fmla="*/ 621983 h 3877946"/>
              <a:gd name="connsiteX4" fmla="*/ 4742180 w 4742180"/>
              <a:gd name="connsiteY4" fmla="*/ 1699896 h 3877946"/>
              <a:gd name="connsiteX5" fmla="*/ 4742180 w 4742180"/>
              <a:gd name="connsiteY5" fmla="*/ 3877946 h 3877946"/>
              <a:gd name="connsiteX6" fmla="*/ 2238693 w 4742180"/>
              <a:gd name="connsiteY6" fmla="*/ 3877946 h 3877946"/>
              <a:gd name="connsiteX7" fmla="*/ 2238692 w 4742180"/>
              <a:gd name="connsiteY7" fmla="*/ 3877946 h 3877946"/>
              <a:gd name="connsiteX8" fmla="*/ 2238692 w 4742180"/>
              <a:gd name="connsiteY8" fmla="*/ 3877945 h 3877946"/>
              <a:gd name="connsiteX9" fmla="*/ 2238693 w 4742180"/>
              <a:gd name="connsiteY9" fmla="*/ 3877945 h 3877946"/>
              <a:gd name="connsiteX10" fmla="*/ 2238778 w 4742180"/>
              <a:gd name="connsiteY10" fmla="*/ 3877798 h 3877946"/>
              <a:gd name="connsiteX11" fmla="*/ 0 w 4742180"/>
              <a:gd name="connsiteY11" fmla="*/ 0 h 3877946"/>
              <a:gd name="connsiteX0" fmla="*/ 0 w 4742180"/>
              <a:gd name="connsiteY0" fmla="*/ 0 h 3877946"/>
              <a:gd name="connsiteX1" fmla="*/ 3760788 w 4742180"/>
              <a:gd name="connsiteY1" fmla="*/ 0 h 3877946"/>
              <a:gd name="connsiteX2" fmla="*/ 4120670 w 4742180"/>
              <a:gd name="connsiteY2" fmla="*/ 623361 h 3877946"/>
              <a:gd name="connsiteX3" fmla="*/ 4742180 w 4742180"/>
              <a:gd name="connsiteY3" fmla="*/ 1699896 h 3877946"/>
              <a:gd name="connsiteX4" fmla="*/ 4742180 w 4742180"/>
              <a:gd name="connsiteY4" fmla="*/ 3877946 h 3877946"/>
              <a:gd name="connsiteX5" fmla="*/ 2238693 w 4742180"/>
              <a:gd name="connsiteY5" fmla="*/ 3877946 h 3877946"/>
              <a:gd name="connsiteX6" fmla="*/ 2238692 w 4742180"/>
              <a:gd name="connsiteY6" fmla="*/ 3877946 h 3877946"/>
              <a:gd name="connsiteX7" fmla="*/ 2238692 w 4742180"/>
              <a:gd name="connsiteY7" fmla="*/ 3877945 h 3877946"/>
              <a:gd name="connsiteX8" fmla="*/ 2238693 w 4742180"/>
              <a:gd name="connsiteY8" fmla="*/ 3877945 h 3877946"/>
              <a:gd name="connsiteX9" fmla="*/ 2238778 w 4742180"/>
              <a:gd name="connsiteY9" fmla="*/ 3877798 h 3877946"/>
              <a:gd name="connsiteX10" fmla="*/ 0 w 4742180"/>
              <a:gd name="connsiteY10" fmla="*/ 0 h 3877946"/>
              <a:gd name="connsiteX0" fmla="*/ 0 w 4742180"/>
              <a:gd name="connsiteY0" fmla="*/ 0 h 3877946"/>
              <a:gd name="connsiteX1" fmla="*/ 3760788 w 4742180"/>
              <a:gd name="connsiteY1" fmla="*/ 0 h 3877946"/>
              <a:gd name="connsiteX2" fmla="*/ 4742180 w 4742180"/>
              <a:gd name="connsiteY2" fmla="*/ 1699896 h 3877946"/>
              <a:gd name="connsiteX3" fmla="*/ 4742180 w 4742180"/>
              <a:gd name="connsiteY3" fmla="*/ 3877946 h 3877946"/>
              <a:gd name="connsiteX4" fmla="*/ 2238693 w 4742180"/>
              <a:gd name="connsiteY4" fmla="*/ 3877946 h 3877946"/>
              <a:gd name="connsiteX5" fmla="*/ 2238692 w 4742180"/>
              <a:gd name="connsiteY5" fmla="*/ 3877946 h 3877946"/>
              <a:gd name="connsiteX6" fmla="*/ 2238692 w 4742180"/>
              <a:gd name="connsiteY6" fmla="*/ 3877945 h 3877946"/>
              <a:gd name="connsiteX7" fmla="*/ 2238693 w 4742180"/>
              <a:gd name="connsiteY7" fmla="*/ 3877945 h 3877946"/>
              <a:gd name="connsiteX8" fmla="*/ 2238778 w 4742180"/>
              <a:gd name="connsiteY8" fmla="*/ 3877798 h 3877946"/>
              <a:gd name="connsiteX9" fmla="*/ 0 w 4742180"/>
              <a:gd name="connsiteY9" fmla="*/ 0 h 387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2180" h="3877946">
                <a:moveTo>
                  <a:pt x="0" y="0"/>
                </a:moveTo>
                <a:lnTo>
                  <a:pt x="3760788" y="0"/>
                </a:lnTo>
                <a:lnTo>
                  <a:pt x="4742180" y="1699896"/>
                </a:lnTo>
                <a:lnTo>
                  <a:pt x="4742180" y="3877946"/>
                </a:lnTo>
                <a:lnTo>
                  <a:pt x="2238693" y="3877946"/>
                </a:lnTo>
                <a:lnTo>
                  <a:pt x="2238692" y="3877946"/>
                </a:lnTo>
                <a:lnTo>
                  <a:pt x="2238692" y="3877945"/>
                </a:lnTo>
                <a:lnTo>
                  <a:pt x="2238693" y="3877945"/>
                </a:lnTo>
                <a:cubicBezTo>
                  <a:pt x="2238721" y="3877896"/>
                  <a:pt x="2238750" y="3877847"/>
                  <a:pt x="2238778" y="3877798"/>
                </a:cubicBezTo>
                <a:lnTo>
                  <a:pt x="0" y="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8" name="Freeform 6"/>
          <p:cNvSpPr>
            <a:spLocks/>
          </p:cNvSpPr>
          <p:nvPr userDrawn="1"/>
        </p:nvSpPr>
        <p:spPr bwMode="auto">
          <a:xfrm>
            <a:off x="6661150" y="623888"/>
            <a:ext cx="2503488" cy="3255963"/>
          </a:xfrm>
          <a:custGeom>
            <a:avLst/>
            <a:gdLst>
              <a:gd name="T0" fmla="*/ 0 w 1577"/>
              <a:gd name="T1" fmla="*/ 2051 h 2051"/>
              <a:gd name="T2" fmla="*/ 1577 w 1577"/>
              <a:gd name="T3" fmla="*/ 2051 h 2051"/>
              <a:gd name="T4" fmla="*/ 1577 w 1577"/>
              <a:gd name="T5" fmla="*/ 679 h 2051"/>
              <a:gd name="T6" fmla="*/ 1186 w 1577"/>
              <a:gd name="T7" fmla="*/ 0 h 2051"/>
              <a:gd name="T8" fmla="*/ 0 w 1577"/>
              <a:gd name="T9" fmla="*/ 2051 h 2051"/>
            </a:gdLst>
            <a:ahLst/>
            <a:cxnLst>
              <a:cxn ang="0">
                <a:pos x="T0" y="T1"/>
              </a:cxn>
              <a:cxn ang="0">
                <a:pos x="T2" y="T3"/>
              </a:cxn>
              <a:cxn ang="0">
                <a:pos x="T4" y="T5"/>
              </a:cxn>
              <a:cxn ang="0">
                <a:pos x="T6" y="T7"/>
              </a:cxn>
              <a:cxn ang="0">
                <a:pos x="T8" y="T9"/>
              </a:cxn>
            </a:cxnLst>
            <a:rect l="0" t="0" r="r" b="b"/>
            <a:pathLst>
              <a:path w="1577" h="2051">
                <a:moveTo>
                  <a:pt x="0" y="2051"/>
                </a:moveTo>
                <a:lnTo>
                  <a:pt x="1577" y="2051"/>
                </a:lnTo>
                <a:lnTo>
                  <a:pt x="1577" y="679"/>
                </a:lnTo>
                <a:lnTo>
                  <a:pt x="1186" y="0"/>
                </a:lnTo>
                <a:lnTo>
                  <a:pt x="0" y="2051"/>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2141602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2648584"/>
            <a:ext cx="5667534" cy="1470025"/>
          </a:xfrm>
        </p:spPr>
        <p:txBody>
          <a:bodyPr anchor="b"/>
          <a:lstStyle>
            <a:lvl1pPr>
              <a:defRPr sz="400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67506" y="4161551"/>
            <a:ext cx="5669280" cy="488157"/>
          </a:xfrm>
        </p:spPr>
        <p:txBody>
          <a:bodyPr anchor="t"/>
          <a:lstStyle>
            <a:lvl1pPr marL="0" indent="0" algn="l">
              <a:buNone/>
              <a:defRPr sz="28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65" name="Text Placeholder 64"/>
          <p:cNvSpPr>
            <a:spLocks noGrp="1"/>
          </p:cNvSpPr>
          <p:nvPr>
            <p:ph type="body" sz="quarter" idx="10" hasCustomPrompt="1"/>
          </p:nvPr>
        </p:nvSpPr>
        <p:spPr>
          <a:xfrm>
            <a:off x="367506" y="4673918"/>
            <a:ext cx="5669280" cy="345122"/>
          </a:xfrm>
        </p:spPr>
        <p:txBody>
          <a:bodyPr>
            <a:noAutofit/>
          </a:bodyPr>
          <a:lstStyle>
            <a:lvl1pPr marL="0" indent="0">
              <a:buNone/>
              <a:defRPr b="0">
                <a:solidFill>
                  <a:schemeClr val="tx1"/>
                </a:solidFill>
              </a:defRPr>
            </a:lvl1pPr>
          </a:lstStyle>
          <a:p>
            <a:pPr lvl="0"/>
            <a:r>
              <a:rPr lang="en-US" b="0" dirty="0"/>
              <a:t>Date</a:t>
            </a:r>
            <a:endParaRPr lang="en-US" dirty="0"/>
          </a:p>
        </p:txBody>
      </p:sp>
      <p:grpSp>
        <p:nvGrpSpPr>
          <p:cNvPr id="31" name="Group 30"/>
          <p:cNvGrpSpPr/>
          <p:nvPr userDrawn="1"/>
        </p:nvGrpSpPr>
        <p:grpSpPr>
          <a:xfrm>
            <a:off x="374651" y="6029325"/>
            <a:ext cx="2054224" cy="403225"/>
            <a:chOff x="374651" y="6029325"/>
            <a:chExt cx="2054224" cy="403225"/>
          </a:xfrm>
        </p:grpSpPr>
        <p:sp>
          <p:nvSpPr>
            <p:cNvPr id="32"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3"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4" name="Freeform 33"/>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5" name="Freeform 34"/>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6" name="Freeform 35"/>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7" name="Freeform 36"/>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8" name="Freeform 37"/>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9" name="Freeform 38"/>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0"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1"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2"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3"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4"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5"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6"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7"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8"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1613308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1" name="Text Placeholder 2"/>
          <p:cNvSpPr>
            <a:spLocks noGrp="1"/>
          </p:cNvSpPr>
          <p:nvPr>
            <p:ph type="body" sz="quarter" idx="24"/>
            <p:custDataLst>
              <p:tags r:id="rId1"/>
            </p:custDataLst>
          </p:nvPr>
        </p:nvSpPr>
        <p:spPr>
          <a:xfrm>
            <a:off x="366712" y="1290279"/>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2" name="Text Placeholder 2"/>
          <p:cNvSpPr>
            <a:spLocks noGrp="1"/>
          </p:cNvSpPr>
          <p:nvPr>
            <p:ph type="body" sz="quarter" idx="25"/>
            <p:custDataLst>
              <p:tags r:id="rId2"/>
            </p:custDataLst>
          </p:nvPr>
        </p:nvSpPr>
        <p:spPr>
          <a:xfrm>
            <a:off x="366712" y="1933675"/>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3" name="Text Placeholder 2"/>
          <p:cNvSpPr>
            <a:spLocks noGrp="1"/>
          </p:cNvSpPr>
          <p:nvPr>
            <p:ph type="body" sz="quarter" idx="26"/>
            <p:custDataLst>
              <p:tags r:id="rId3"/>
            </p:custDataLst>
          </p:nvPr>
        </p:nvSpPr>
        <p:spPr>
          <a:xfrm>
            <a:off x="366712" y="2577071"/>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4" name="Text Placeholder 2"/>
          <p:cNvSpPr>
            <a:spLocks noGrp="1"/>
          </p:cNvSpPr>
          <p:nvPr>
            <p:ph type="body" sz="quarter" idx="27"/>
            <p:custDataLst>
              <p:tags r:id="rId4"/>
            </p:custDataLst>
          </p:nvPr>
        </p:nvSpPr>
        <p:spPr>
          <a:xfrm>
            <a:off x="366712" y="3220467"/>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5" name="Text Placeholder 2"/>
          <p:cNvSpPr>
            <a:spLocks noGrp="1"/>
          </p:cNvSpPr>
          <p:nvPr>
            <p:ph type="body" sz="quarter" idx="28"/>
            <p:custDataLst>
              <p:tags r:id="rId5"/>
            </p:custDataLst>
          </p:nvPr>
        </p:nvSpPr>
        <p:spPr>
          <a:xfrm>
            <a:off x="366712" y="3863863"/>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6" name="Text Placeholder 2"/>
          <p:cNvSpPr>
            <a:spLocks noGrp="1"/>
          </p:cNvSpPr>
          <p:nvPr>
            <p:ph type="body" sz="quarter" idx="29"/>
            <p:custDataLst>
              <p:tags r:id="rId6"/>
            </p:custDataLst>
          </p:nvPr>
        </p:nvSpPr>
        <p:spPr>
          <a:xfrm>
            <a:off x="366712" y="4507258"/>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7" name="Text Placeholder 2"/>
          <p:cNvSpPr>
            <a:spLocks noGrp="1"/>
          </p:cNvSpPr>
          <p:nvPr>
            <p:ph type="body" sz="quarter" idx="30"/>
            <p:custDataLst>
              <p:tags r:id="rId7"/>
            </p:custDataLst>
          </p:nvPr>
        </p:nvSpPr>
        <p:spPr>
          <a:xfrm>
            <a:off x="366712" y="5150652"/>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2" name="Title 1"/>
          <p:cNvSpPr>
            <a:spLocks noGrp="1"/>
          </p:cNvSpPr>
          <p:nvPr>
            <p:ph type="title"/>
          </p:nvPr>
        </p:nvSpPr>
        <p:spPr>
          <a:xfrm>
            <a:off x="363538" y="629512"/>
            <a:ext cx="8432800" cy="347472"/>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pPr>
              <a:defRPr/>
            </a:pPr>
            <a:fld id="{91D03FF3-2B9E-4617-A592-48F56EC63E6E}" type="slidenum">
              <a:rPr lang="en-US">
                <a:solidFill>
                  <a:srgbClr val="38454F"/>
                </a:solidFill>
              </a:rPr>
              <a:pPr>
                <a:defRPr/>
              </a:pPr>
              <a:t>‹#›</a:t>
            </a:fld>
            <a:endParaRPr lang="en-US" dirty="0">
              <a:solidFill>
                <a:srgbClr val="38454F"/>
              </a:solidFill>
            </a:endParaRPr>
          </a:p>
        </p:txBody>
      </p:sp>
      <p:sp>
        <p:nvSpPr>
          <p:cNvPr id="61" name="Text Placeholder 60"/>
          <p:cNvSpPr>
            <a:spLocks noGrp="1"/>
          </p:cNvSpPr>
          <p:nvPr>
            <p:ph type="body" sz="quarter" idx="12" hasCustomPrompt="1"/>
          </p:nvPr>
        </p:nvSpPr>
        <p:spPr>
          <a:xfrm>
            <a:off x="366713" y="1290279"/>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lvl1pPr marL="0" indent="0">
              <a:buFont typeface="Arial" panose="020B0604020202020204" pitchFamily="34" charset="0"/>
              <a:buChar char="​"/>
              <a:defRPr lang="en-US" sz="2400" b="1" dirty="0" smtClean="0">
                <a:solidFill>
                  <a:schemeClr val="bg1"/>
                </a:solidFill>
                <a:latin typeface="Arial" panose="020B0604020202020204" pitchFamily="34" charset="0"/>
                <a:cs typeface="Arial" panose="020B0604020202020204" pitchFamily="34" charset="0"/>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marL="1595437" indent="0">
              <a:buNone/>
              <a:defRPr lang="en-US" dirty="0">
                <a:solidFill>
                  <a:schemeClr val="lt1"/>
                </a:solidFill>
              </a:defRPr>
            </a:lvl5pPr>
          </a:lstStyle>
          <a:p>
            <a:pPr lvl="0" algn="ctr">
              <a:spcBef>
                <a:spcPct val="0"/>
              </a:spcBef>
            </a:pPr>
            <a:r>
              <a:rPr lang="en-US" dirty="0"/>
              <a:t>#</a:t>
            </a:r>
          </a:p>
        </p:txBody>
      </p:sp>
      <p:sp>
        <p:nvSpPr>
          <p:cNvPr id="63" name="Text Placeholder 60"/>
          <p:cNvSpPr>
            <a:spLocks noGrp="1"/>
          </p:cNvSpPr>
          <p:nvPr>
            <p:ph type="body" sz="quarter" idx="13" hasCustomPrompt="1"/>
          </p:nvPr>
        </p:nvSpPr>
        <p:spPr>
          <a:xfrm>
            <a:off x="366713" y="1934469"/>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4" name="Text Placeholder 60"/>
          <p:cNvSpPr>
            <a:spLocks noGrp="1"/>
          </p:cNvSpPr>
          <p:nvPr>
            <p:ph type="body" sz="quarter" idx="14" hasCustomPrompt="1"/>
          </p:nvPr>
        </p:nvSpPr>
        <p:spPr>
          <a:xfrm>
            <a:off x="366713" y="25778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5" name="Text Placeholder 60"/>
          <p:cNvSpPr>
            <a:spLocks noGrp="1"/>
          </p:cNvSpPr>
          <p:nvPr>
            <p:ph type="body" sz="quarter" idx="15" hasCustomPrompt="1"/>
          </p:nvPr>
        </p:nvSpPr>
        <p:spPr>
          <a:xfrm>
            <a:off x="366713" y="32214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6" name="Text Placeholder 60"/>
          <p:cNvSpPr>
            <a:spLocks noGrp="1"/>
          </p:cNvSpPr>
          <p:nvPr>
            <p:ph type="body" sz="quarter" idx="16" hasCustomPrompt="1"/>
          </p:nvPr>
        </p:nvSpPr>
        <p:spPr>
          <a:xfrm>
            <a:off x="366713" y="38650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7" name="Text Placeholder 60"/>
          <p:cNvSpPr>
            <a:spLocks noGrp="1"/>
          </p:cNvSpPr>
          <p:nvPr>
            <p:ph type="body" sz="quarter" idx="17" hasCustomPrompt="1"/>
          </p:nvPr>
        </p:nvSpPr>
        <p:spPr>
          <a:xfrm>
            <a:off x="366713" y="45086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8" name="Text Placeholder 60"/>
          <p:cNvSpPr>
            <a:spLocks noGrp="1"/>
          </p:cNvSpPr>
          <p:nvPr>
            <p:ph type="body" sz="quarter" idx="18" hasCustomPrompt="1"/>
          </p:nvPr>
        </p:nvSpPr>
        <p:spPr>
          <a:xfrm>
            <a:off x="366713" y="5152240"/>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Tree>
    <p:extLst>
      <p:ext uri="{BB962C8B-B14F-4D97-AF65-F5344CB8AC3E}">
        <p14:creationId xmlns:p14="http://schemas.microsoft.com/office/powerpoint/2010/main" val="297573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432800" cy="347472"/>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pPr>
              <a:defRPr/>
            </a:pPr>
            <a:fld id="{91D03FF3-2B9E-4617-A592-48F56EC63E6E}" type="slidenum">
              <a:rPr lang="en-US">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2118979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5"/>
          <p:cNvSpPr>
            <a:spLocks noGrp="1" noChangeAspect="1"/>
          </p:cNvSpPr>
          <p:nvPr>
            <p:ph type="sldNum" sz="quarter" idx="11"/>
          </p:nvPr>
        </p:nvSpPr>
        <p:spPr/>
        <p:txBody>
          <a:bodyPr/>
          <a:lstStyle>
            <a:lvl1pPr>
              <a:defRPr/>
            </a:lvl1pPr>
          </a:lstStyle>
          <a:p>
            <a:pPr>
              <a:defRPr/>
            </a:pPr>
            <a:fld id="{0EE25AFF-DC43-4D65-915F-22B9B4081F3B}" type="slidenum">
              <a:rPr lang="en-US">
                <a:solidFill>
                  <a:srgbClr val="4D4D4F"/>
                </a:solidFill>
              </a:rPr>
              <a:pPr>
                <a:defRPr/>
              </a:pPr>
              <a:t>‹#›</a:t>
            </a:fld>
            <a:endParaRPr lang="en-US" dirty="0">
              <a:solidFill>
                <a:srgbClr val="4D4D4F"/>
              </a:solidFill>
            </a:endParaRPr>
          </a:p>
        </p:txBody>
      </p:sp>
    </p:spTree>
    <p:extLst>
      <p:ext uri="{BB962C8B-B14F-4D97-AF65-F5344CB8AC3E}">
        <p14:creationId xmlns:p14="http://schemas.microsoft.com/office/powerpoint/2010/main" val="401608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Horz 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745632"/>
            <a:ext cx="6158232" cy="2011680"/>
          </a:xfrm>
        </p:spPr>
        <p:txBody>
          <a:bodyPr vert="horz" lIns="0" tIns="0" rIns="0" bIns="0" rtlCol="0">
            <a:noAutofit/>
          </a:bodyPr>
          <a:lstStyle>
            <a:lvl1pPr>
              <a:defRPr lang="en-US" b="0" noProof="0" dirty="0" smtClean="0">
                <a:solidFill>
                  <a:schemeClr val="tx1"/>
                </a:solidFill>
              </a:defRPr>
            </a:lvl1pPr>
            <a:lvl2pPr>
              <a:defRPr lang="en-US" noProof="0" dirty="0" smtClean="0"/>
            </a:lvl2pPr>
            <a:lvl3pPr>
              <a:defRPr lang="en-US" noProof="0" dirty="0" smtClean="0"/>
            </a:lvl3pPr>
            <a:lvl4pPr>
              <a:defRPr lang="en-US" noProof="0" dirty="0" smtClean="0"/>
            </a:lvl4pPr>
            <a:lvl5pPr>
              <a:defRPr lang="en-US"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noProof="0"/>
              <a:pPr>
                <a:defRPr/>
              </a:pPr>
              <a:t>‹#›</a:t>
            </a:fld>
            <a:endParaRPr lang="en-US" noProof="0" dirty="0"/>
          </a:p>
        </p:txBody>
      </p:sp>
      <p:sp>
        <p:nvSpPr>
          <p:cNvPr id="7" name="Content Placeholder 6"/>
          <p:cNvSpPr>
            <a:spLocks noGrp="1"/>
          </p:cNvSpPr>
          <p:nvPr>
            <p:ph sz="quarter" idx="16"/>
          </p:nvPr>
        </p:nvSpPr>
        <p:spPr>
          <a:xfrm>
            <a:off x="2622231" y="3888152"/>
            <a:ext cx="6158232" cy="2011680"/>
          </a:xfrm>
        </p:spPr>
        <p:txBody>
          <a:bodyPr vert="horz" lIns="0" tIns="0" rIns="0" bIns="0" rtlCol="0">
            <a:noAutofit/>
          </a:bodyPr>
          <a:lstStyle>
            <a:lvl1pPr>
              <a:defRPr lang="en-US" b="0" dirty="0" smtClean="0">
                <a:solidFill>
                  <a:schemeClr val="tx1"/>
                </a:solidFill>
              </a:defRPr>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745632"/>
            <a:ext cx="2102167" cy="2011680"/>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888152"/>
            <a:ext cx="2102167" cy="201168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369348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a:solidFill>
                  <a:srgbClr val="38454F"/>
                </a:solidFill>
              </a:rPr>
              <a:pPr/>
              <a:t>‹#›</a:t>
            </a:fld>
            <a:endParaRPr lang="en-US">
              <a:solidFill>
                <a:srgbClr val="38454F"/>
              </a:solidFill>
            </a:endParaRPr>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41842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with Tab">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a:solidFill>
                  <a:srgbClr val="38454F"/>
                </a:solidFill>
              </a:rPr>
              <a:pPr/>
              <a:t>‹#›</a:t>
            </a:fld>
            <a:endParaRPr lang="en-US">
              <a:solidFill>
                <a:srgbClr val="38454F"/>
              </a:solidFill>
            </a:endParaRPr>
          </a:p>
        </p:txBody>
      </p:sp>
      <p:sp>
        <p:nvSpPr>
          <p:cNvPr id="5" name="Flowchart: Data 4"/>
          <p:cNvSpPr/>
          <p:nvPr userDrawn="1"/>
        </p:nvSpPr>
        <p:spPr bwMode="auto">
          <a:xfrm>
            <a:off x="0" y="0"/>
            <a:ext cx="3558474" cy="461430"/>
          </a:xfrm>
          <a:custGeom>
            <a:avLst/>
            <a:gdLst/>
            <a:ahLst/>
            <a:cxnLst/>
            <a:rect l="l" t="t" r="r" b="b"/>
            <a:pathLst>
              <a:path w="3558474" h="461430">
                <a:moveTo>
                  <a:pt x="0" y="0"/>
                </a:moveTo>
                <a:lnTo>
                  <a:pt x="3558474" y="0"/>
                </a:lnTo>
                <a:lnTo>
                  <a:pt x="3294039" y="461430"/>
                </a:lnTo>
                <a:lnTo>
                  <a:pt x="0" y="461430"/>
                </a:lnTo>
                <a:close/>
              </a:path>
            </a:pathLst>
          </a:custGeom>
          <a:solidFill>
            <a:schemeClr val="accent1"/>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9" name="Text Placeholder 8"/>
          <p:cNvSpPr>
            <a:spLocks noGrp="1"/>
          </p:cNvSpPr>
          <p:nvPr>
            <p:ph type="body" sz="quarter" idx="13"/>
          </p:nvPr>
        </p:nvSpPr>
        <p:spPr>
          <a:xfrm>
            <a:off x="371475" y="0"/>
            <a:ext cx="3008313" cy="461963"/>
          </a:xfrm>
        </p:spPr>
        <p:txBody>
          <a:bodyPr anchor="ctr" anchorCtr="0">
            <a:noAutofit/>
          </a:bodyPr>
          <a:lstStyle>
            <a:lvl1pPr marL="0" indent="0" algn="l">
              <a:buNone/>
              <a:defRPr sz="1400" b="0">
                <a:solidFill>
                  <a:schemeClr val="bg1"/>
                </a:solidFill>
              </a:defRPr>
            </a:lvl1pPr>
            <a:lvl2pPr>
              <a:defRPr sz="1100" b="0">
                <a:solidFill>
                  <a:schemeClr val="bg1"/>
                </a:solidFill>
              </a:defRPr>
            </a:lvl2pPr>
            <a:lvl3pPr>
              <a:defRPr sz="1100" b="0">
                <a:solidFill>
                  <a:schemeClr val="bg1"/>
                </a:solidFill>
              </a:defRPr>
            </a:lvl3pPr>
            <a:lvl4pPr>
              <a:defRPr sz="1100" b="0">
                <a:solidFill>
                  <a:schemeClr val="bg1"/>
                </a:solidFill>
              </a:defRPr>
            </a:lvl4pPr>
            <a:lvl5pPr>
              <a:defRPr sz="1100" b="0">
                <a:solidFill>
                  <a:schemeClr val="bg1"/>
                </a:solidFill>
              </a:defRPr>
            </a:lvl5pPr>
          </a:lstStyle>
          <a:p>
            <a:pPr lvl="0"/>
            <a:r>
              <a:rPr lang="en-US"/>
              <a:t>Click to edit Master text styles</a:t>
            </a:r>
          </a:p>
        </p:txBody>
      </p:sp>
      <p:sp>
        <p:nvSpPr>
          <p:cNvPr id="13" name="Text Placeholder 12"/>
          <p:cNvSpPr>
            <a:spLocks noGrp="1"/>
          </p:cNvSpPr>
          <p:nvPr>
            <p:ph type="body" sz="quarter" idx="14"/>
          </p:nvPr>
        </p:nvSpPr>
        <p:spPr>
          <a:xfrm>
            <a:off x="371475" y="996026"/>
            <a:ext cx="853884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146649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4038600" cy="4343400"/>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buFont typeface="Arial" panose="020B0604020202020204" pitchFamily="34" charset="0"/>
              <a:buChar char="»"/>
              <a:defRPr sz="1400"/>
            </a:lvl3pPr>
            <a:lvl4pPr marL="690563" indent="-233363">
              <a:defRPr sz="1200"/>
            </a:lvl4pPr>
            <a:lvl5pPr marL="974725" indent="-284163">
              <a:defRPr sz="1200"/>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4586288" y="1206500"/>
            <a:ext cx="4041648" cy="4343400"/>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defRPr sz="1400"/>
            </a:lvl3pPr>
            <a:lvl4pPr marL="690563" indent="-233363">
              <a:defRPr sz="1200"/>
            </a:lvl4pPr>
            <a:lvl5pPr marL="969963" indent="-2794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8969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2725102" cy="4343400"/>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buFont typeface="Arial" panose="020B0604020202020204" pitchFamily="34" charset="0"/>
              <a:buChar char="»"/>
              <a:defRPr sz="1400"/>
            </a:lvl3pPr>
            <a:lvl4pPr marL="690563" indent="-233363">
              <a:defRPr sz="1200"/>
            </a:lvl4pPr>
            <a:lvl5pPr marL="974725" indent="-284163">
              <a:defRPr sz="1200"/>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5" name="Content Placeholder 4"/>
          <p:cNvSpPr>
            <a:spLocks noGrp="1"/>
          </p:cNvSpPr>
          <p:nvPr>
            <p:ph sz="quarter" idx="17"/>
          </p:nvPr>
        </p:nvSpPr>
        <p:spPr>
          <a:xfrm>
            <a:off x="3217482" y="1206500"/>
            <a:ext cx="2724912" cy="4338638"/>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defRPr sz="1400"/>
            </a:lvl3pPr>
            <a:lvl4pPr marL="690563" indent="-233363">
              <a:defRPr sz="1200"/>
            </a:lvl4pPr>
            <a:lvl5pPr marL="914400" indent="-223838">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8"/>
          </p:nvPr>
        </p:nvSpPr>
        <p:spPr>
          <a:xfrm>
            <a:off x="6071235" y="1206500"/>
            <a:ext cx="2736850" cy="4357688"/>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defRPr sz="1400"/>
            </a:lvl3pPr>
            <a:lvl4pPr marL="690563" indent="-233363">
              <a:defRPr sz="1200"/>
            </a:lvl4pPr>
            <a:lvl5pPr marL="914400" indent="-223838">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1517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Subhead with Chart">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a:solidFill>
                  <a:srgbClr val="38454F"/>
                </a:solidFill>
              </a:rPr>
              <a:pPr/>
              <a:t>‹#›</a:t>
            </a:fld>
            <a:endParaRPr lang="en-US">
              <a:solidFill>
                <a:srgbClr val="38454F"/>
              </a:solidFill>
            </a:endParaRPr>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7" name="Chart Placeholder 6"/>
          <p:cNvSpPr>
            <a:spLocks noGrp="1"/>
          </p:cNvSpPr>
          <p:nvPr>
            <p:ph type="chart" sz="quarter" idx="15"/>
          </p:nvPr>
        </p:nvSpPr>
        <p:spPr>
          <a:xfrm>
            <a:off x="806497" y="1711708"/>
            <a:ext cx="7559581" cy="4064060"/>
          </a:xfrm>
        </p:spPr>
        <p:txBody>
          <a:bodyPr/>
          <a:lstStyle>
            <a:lvl1pPr marL="0" indent="0">
              <a:buNone/>
              <a:defRPr/>
            </a:lvl1pPr>
          </a:lstStyle>
          <a:p>
            <a:r>
              <a:rPr lang="en-US"/>
              <a:t>Click icon to add chart</a:t>
            </a:r>
          </a:p>
        </p:txBody>
      </p:sp>
    </p:spTree>
    <p:extLst>
      <p:ext uri="{BB962C8B-B14F-4D97-AF65-F5344CB8AC3E}">
        <p14:creationId xmlns:p14="http://schemas.microsoft.com/office/powerpoint/2010/main" val="44774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4069080" cy="3805238"/>
          </a:xfrm>
        </p:spPr>
        <p:txBody>
          <a:bodyPr vert="horz" lIns="0" tIns="0" rIns="0" bIns="0" rtlCol="0">
            <a:noAutofit/>
          </a:bodyPr>
          <a:lstStyle>
            <a:lvl1pPr>
              <a:defRPr lang="en-US" sz="1800" b="0" noProof="0" dirty="0" smtClean="0">
                <a:solidFill>
                  <a:schemeClr val="tx1"/>
                </a:solidFill>
              </a:defRPr>
            </a:lvl1pPr>
            <a:lvl2pPr>
              <a:defRPr lang="en-US" sz="1600" noProof="0" dirty="0" smtClean="0"/>
            </a:lvl2pPr>
            <a:lvl3pPr>
              <a:defRPr lang="en-US" sz="1600" noProof="0" dirty="0" smtClean="0"/>
            </a:lvl3pPr>
            <a:lvl4pPr>
              <a:defRPr lang="en-US" sz="1400" noProof="0" dirty="0" smtClean="0"/>
            </a:lvl4pPr>
            <a:lvl5pPr>
              <a:defRPr lang="en-US" sz="14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4700207" y="2330450"/>
            <a:ext cx="4069080" cy="3805238"/>
          </a:xfrm>
        </p:spPr>
        <p:txBody>
          <a:bodyPr vert="horz" lIns="0" tIns="0" rIns="0" bIns="0" rtlCol="0">
            <a:noAutofit/>
          </a:bodyPr>
          <a:lstStyle>
            <a:lvl1pPr>
              <a:defRPr lang="en-US" sz="1800" b="0" dirty="0" smtClean="0">
                <a:solidFill>
                  <a:schemeClr val="tx1"/>
                </a:solidFill>
              </a:defRPr>
            </a:lvl1pPr>
            <a:lvl2pPr>
              <a:defRPr lang="en-US" sz="1600" dirty="0" smtClean="0"/>
            </a:lvl2pPr>
            <a:lvl3pPr>
              <a:defRPr lang="en-US" sz="1600" dirty="0" smtClean="0"/>
            </a:lvl3pPr>
            <a:lvl4pPr>
              <a:defRPr lang="en-US" sz="1400" dirty="0" smtClean="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46051"/>
            <a:ext cx="4069080" cy="556634"/>
          </a:xfrm>
          <a:prstGeom prst="rect">
            <a:avLst/>
          </a:prstGeom>
          <a:solidFill>
            <a:schemeClr val="accent2"/>
          </a:solidFill>
        </p:spPr>
        <p:txBody>
          <a:bodyPr lIns="45720" tIns="45720" rIns="45720" bIns="45720" anchor="ctr"/>
          <a:lstStyle>
            <a:lvl1pPr marL="4763" indent="0" algn="ctr">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4700207" y="1646051"/>
            <a:ext cx="4069080" cy="556634"/>
          </a:xfrm>
          <a:prstGeom prst="rect">
            <a:avLst/>
          </a:prstGeom>
          <a:solidFill>
            <a:schemeClr val="accent2"/>
          </a:solidFill>
        </p:spPr>
        <p:txBody>
          <a:bodyPr lIns="45720" tIns="45720" rIns="45720" bIns="45720" anchor="ctr"/>
          <a:lstStyle>
            <a:lvl1pPr marL="0" indent="0" algn="ctr">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337499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solidFill>
                  <a:schemeClr val="tx1"/>
                </a:solidFill>
              </a:defRPr>
            </a:lvl2pPr>
            <a:lvl3pPr>
              <a:defRPr lang="en-US" sz="1400" noProof="0" dirty="0" smtClean="0">
                <a:solidFill>
                  <a:schemeClr val="tx1"/>
                </a:solidFill>
              </a:defRPr>
            </a:lvl3pPr>
            <a:lvl4pPr>
              <a:defRPr lang="en-US" sz="1200" noProof="0" dirty="0" smtClean="0">
                <a:solidFill>
                  <a:schemeClr val="tx1"/>
                </a:solidFill>
              </a:defRPr>
            </a:lvl4pPr>
            <a:lvl5pPr>
              <a:defRPr lang="en-US" sz="1200" noProof="0" dirty="0" smtClean="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8" name="Text Placeholder 2"/>
          <p:cNvSpPr>
            <a:spLocks noGrp="1"/>
          </p:cNvSpPr>
          <p:nvPr>
            <p:ph type="body" sz="quarter" idx="24"/>
            <p:custDataLst>
              <p:tags r:id="rId1"/>
            </p:custDataLst>
          </p:nvPr>
        </p:nvSpPr>
        <p:spPr>
          <a:xfrm>
            <a:off x="366713"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11"/>
          <p:cNvSpPr>
            <a:spLocks noGrp="1"/>
          </p:cNvSpPr>
          <p:nvPr>
            <p:ph sz="quarter" idx="25"/>
          </p:nvPr>
        </p:nvSpPr>
        <p:spPr>
          <a:xfrm>
            <a:off x="3254777"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solidFill>
                  <a:schemeClr val="tx1"/>
                </a:solidFill>
              </a:defRPr>
            </a:lvl2pPr>
            <a:lvl3pPr>
              <a:defRPr lang="en-US" sz="1400" noProof="0" dirty="0" smtClean="0">
                <a:solidFill>
                  <a:schemeClr val="tx1"/>
                </a:solidFill>
              </a:defRPr>
            </a:lvl3pPr>
            <a:lvl4pPr>
              <a:defRPr lang="en-US" sz="1200" noProof="0" dirty="0" smtClean="0">
                <a:solidFill>
                  <a:schemeClr val="tx1"/>
                </a:solidFill>
              </a:defRPr>
            </a:lvl4pPr>
            <a:lvl5pPr>
              <a:defRPr lang="en-US" sz="1200" noProof="0" dirty="0" smtClean="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2"/>
          <p:cNvSpPr>
            <a:spLocks noGrp="1"/>
          </p:cNvSpPr>
          <p:nvPr>
            <p:ph type="body" sz="quarter" idx="26"/>
            <p:custDataLst>
              <p:tags r:id="rId2"/>
            </p:custDataLst>
          </p:nvPr>
        </p:nvSpPr>
        <p:spPr>
          <a:xfrm>
            <a:off x="3257952"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
        <p:nvSpPr>
          <p:cNvPr id="14" name="Content Placeholder 11"/>
          <p:cNvSpPr>
            <a:spLocks noGrp="1"/>
          </p:cNvSpPr>
          <p:nvPr>
            <p:ph sz="quarter" idx="27"/>
          </p:nvPr>
        </p:nvSpPr>
        <p:spPr>
          <a:xfrm>
            <a:off x="6146016"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solidFill>
                  <a:schemeClr val="tx1"/>
                </a:solidFill>
              </a:defRPr>
            </a:lvl2pPr>
            <a:lvl3pPr>
              <a:defRPr lang="en-US" sz="1400" noProof="0" dirty="0" smtClean="0">
                <a:solidFill>
                  <a:schemeClr val="tx1"/>
                </a:solidFill>
              </a:defRPr>
            </a:lvl3pPr>
            <a:lvl4pPr>
              <a:defRPr lang="en-US" sz="1200" noProof="0" dirty="0" smtClean="0">
                <a:solidFill>
                  <a:schemeClr val="tx1"/>
                </a:solidFill>
              </a:defRPr>
            </a:lvl4pPr>
            <a:lvl5pPr>
              <a:defRPr lang="en-US" sz="1200" noProof="0" dirty="0" smtClean="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2"/>
          <p:cNvSpPr>
            <a:spLocks noGrp="1"/>
          </p:cNvSpPr>
          <p:nvPr>
            <p:ph type="body" sz="quarter" idx="28"/>
            <p:custDataLst>
              <p:tags r:id="rId3"/>
            </p:custDataLst>
          </p:nvPr>
        </p:nvSpPr>
        <p:spPr>
          <a:xfrm>
            <a:off x="6149191"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2795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8" name="Text Placeholder 2"/>
          <p:cNvSpPr>
            <a:spLocks noGrp="1"/>
          </p:cNvSpPr>
          <p:nvPr>
            <p:ph type="body" sz="quarter" idx="24"/>
            <p:custDataLst>
              <p:tags r:id="rId1"/>
            </p:custDataLst>
          </p:nvPr>
        </p:nvSpPr>
        <p:spPr>
          <a:xfrm>
            <a:off x="363538"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11"/>
          <p:cNvSpPr>
            <a:spLocks noGrp="1"/>
          </p:cNvSpPr>
          <p:nvPr>
            <p:ph sz="quarter" idx="25"/>
          </p:nvPr>
        </p:nvSpPr>
        <p:spPr>
          <a:xfrm>
            <a:off x="2524655"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2"/>
          <p:cNvSpPr>
            <a:spLocks noGrp="1"/>
          </p:cNvSpPr>
          <p:nvPr>
            <p:ph type="body" sz="quarter" idx="26"/>
            <p:custDataLst>
              <p:tags r:id="rId2"/>
            </p:custDataLst>
          </p:nvPr>
        </p:nvSpPr>
        <p:spPr>
          <a:xfrm>
            <a:off x="2525713"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4" name="Content Placeholder 11"/>
          <p:cNvSpPr>
            <a:spLocks noGrp="1"/>
          </p:cNvSpPr>
          <p:nvPr>
            <p:ph sz="quarter" idx="27"/>
          </p:nvPr>
        </p:nvSpPr>
        <p:spPr>
          <a:xfrm>
            <a:off x="4685772"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2"/>
          <p:cNvSpPr>
            <a:spLocks noGrp="1"/>
          </p:cNvSpPr>
          <p:nvPr>
            <p:ph type="body" sz="quarter" idx="28"/>
            <p:custDataLst>
              <p:tags r:id="rId3"/>
            </p:custDataLst>
          </p:nvPr>
        </p:nvSpPr>
        <p:spPr>
          <a:xfrm>
            <a:off x="4687888"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6" name="Content Placeholder 11"/>
          <p:cNvSpPr>
            <a:spLocks noGrp="1"/>
          </p:cNvSpPr>
          <p:nvPr>
            <p:ph sz="quarter" idx="29"/>
          </p:nvPr>
        </p:nvSpPr>
        <p:spPr>
          <a:xfrm>
            <a:off x="6846888"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Text Placeholder 2"/>
          <p:cNvSpPr>
            <a:spLocks noGrp="1"/>
          </p:cNvSpPr>
          <p:nvPr>
            <p:ph type="body" sz="quarter" idx="30"/>
            <p:custDataLst>
              <p:tags r:id="rId4"/>
            </p:custDataLst>
          </p:nvPr>
        </p:nvSpPr>
        <p:spPr>
          <a:xfrm>
            <a:off x="6850063"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55473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Horz 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745632"/>
            <a:ext cx="6158232" cy="2011680"/>
          </a:xfrm>
        </p:spPr>
        <p:txBody>
          <a:bodyPr vert="horz" lIns="0" tIns="0" rIns="0" bIns="0" rtlCol="0">
            <a:noAutofit/>
          </a:bodyPr>
          <a:lstStyle>
            <a:lvl1pPr>
              <a:defRPr lang="en-US" b="0" noProof="0" dirty="0" smtClean="0">
                <a:solidFill>
                  <a:schemeClr val="tx1"/>
                </a:solidFill>
              </a:defRPr>
            </a:lvl1pPr>
            <a:lvl2pPr>
              <a:defRPr lang="en-US" noProof="0" dirty="0" smtClean="0"/>
            </a:lvl2pPr>
            <a:lvl3pPr>
              <a:defRPr lang="en-US" noProof="0" dirty="0" smtClean="0"/>
            </a:lvl3pPr>
            <a:lvl4pPr>
              <a:defRPr lang="en-US" noProof="0" dirty="0" smtClean="0"/>
            </a:lvl4pPr>
            <a:lvl5pPr>
              <a:defRPr lang="en-US"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3888152"/>
            <a:ext cx="6158232" cy="2011680"/>
          </a:xfrm>
        </p:spPr>
        <p:txBody>
          <a:bodyPr vert="horz" lIns="0" tIns="0" rIns="0" bIns="0" rtlCol="0">
            <a:noAutofit/>
          </a:bodyPr>
          <a:lstStyle>
            <a:lvl1pPr>
              <a:defRPr lang="en-US" b="0" dirty="0" smtClean="0">
                <a:solidFill>
                  <a:schemeClr val="tx1"/>
                </a:solidFill>
              </a:defRPr>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745632"/>
            <a:ext cx="2102167" cy="2011680"/>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888152"/>
            <a:ext cx="2102167" cy="201168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377453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orz 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46049"/>
            <a:ext cx="6158232" cy="1371600"/>
          </a:xfrm>
        </p:spPr>
        <p:txBody>
          <a:bodyPr vert="horz" lIns="0" tIns="0" rIns="0" bIns="0" rtlCol="0">
            <a:noAutofit/>
          </a:bodyPr>
          <a:lstStyle>
            <a:lvl1pPr>
              <a:defRPr lang="en-US" sz="16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3221600"/>
            <a:ext cx="6158232" cy="137160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46049"/>
            <a:ext cx="2102167" cy="1371600"/>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221601"/>
            <a:ext cx="2102167" cy="137160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4797152"/>
            <a:ext cx="6158232" cy="137160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p:cNvSpPr>
            <a:spLocks noGrp="1"/>
          </p:cNvSpPr>
          <p:nvPr>
            <p:ph type="body" sz="quarter" idx="27"/>
            <p:custDataLst>
              <p:tags r:id="rId3"/>
            </p:custDataLst>
          </p:nvPr>
        </p:nvSpPr>
        <p:spPr>
          <a:xfrm>
            <a:off x="366712" y="4797152"/>
            <a:ext cx="2102167" cy="137160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832728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Horz 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46049"/>
            <a:ext cx="6158232" cy="1371600"/>
          </a:xfrm>
        </p:spPr>
        <p:txBody>
          <a:bodyPr vert="horz" lIns="0" tIns="0" rIns="0" bIns="0" rtlCol="0">
            <a:noAutofit/>
          </a:bodyPr>
          <a:lstStyle>
            <a:lvl1pPr>
              <a:defRPr lang="en-US" sz="16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noProof="0"/>
              <a:pPr>
                <a:defRPr/>
              </a:pPr>
              <a:t>‹#›</a:t>
            </a:fld>
            <a:endParaRPr lang="en-US" noProof="0" dirty="0"/>
          </a:p>
        </p:txBody>
      </p:sp>
      <p:sp>
        <p:nvSpPr>
          <p:cNvPr id="7" name="Content Placeholder 6"/>
          <p:cNvSpPr>
            <a:spLocks noGrp="1"/>
          </p:cNvSpPr>
          <p:nvPr>
            <p:ph sz="quarter" idx="16"/>
          </p:nvPr>
        </p:nvSpPr>
        <p:spPr>
          <a:xfrm>
            <a:off x="2622231" y="3221600"/>
            <a:ext cx="6158232" cy="137160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46049"/>
            <a:ext cx="2102167" cy="1371600"/>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221601"/>
            <a:ext cx="2102167" cy="137160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4797152"/>
            <a:ext cx="6158232" cy="137160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p:cNvSpPr>
            <a:spLocks noGrp="1"/>
          </p:cNvSpPr>
          <p:nvPr>
            <p:ph type="body" sz="quarter" idx="27"/>
            <p:custDataLst>
              <p:tags r:id="rId3"/>
            </p:custDataLst>
          </p:nvPr>
        </p:nvSpPr>
        <p:spPr>
          <a:xfrm>
            <a:off x="366712" y="4797152"/>
            <a:ext cx="2102167" cy="137160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8709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Horz 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528360"/>
            <a:ext cx="6158232" cy="1046351"/>
          </a:xfrm>
        </p:spPr>
        <p:txBody>
          <a:bodyPr vert="horz" lIns="0" tIns="0" rIns="0" bIns="0" rtlCol="0">
            <a:noAutofit/>
          </a:bodyPr>
          <a:lstStyle>
            <a:lvl1pPr>
              <a:defRPr lang="en-US" sz="1600" b="0" noProof="0" dirty="0" smtClean="0">
                <a:solidFill>
                  <a:schemeClr val="tx1"/>
                </a:solidFill>
              </a:defRPr>
            </a:lvl1pPr>
            <a:lvl2pPr>
              <a:defRPr lang="en-US" sz="1400" noProof="0" dirty="0" smtClean="0"/>
            </a:lvl2pPr>
            <a:lvl3pPr>
              <a:defRPr lang="en-US" sz="1400" noProof="0" dirty="0" smtClean="0"/>
            </a:lvl3pPr>
          </a:lstStyle>
          <a:p>
            <a:pPr lvl="0"/>
            <a:r>
              <a:rPr lang="en-US" noProof="0"/>
              <a:t>Click to edit Master text styles</a:t>
            </a:r>
          </a:p>
          <a:p>
            <a:pPr lvl="1"/>
            <a:r>
              <a:rPr lang="en-US" noProof="0"/>
              <a:t>Second level</a:t>
            </a:r>
          </a:p>
          <a:p>
            <a:pPr lvl="2"/>
            <a:r>
              <a:rPr lang="en-US" noProof="0"/>
              <a:t>Third level</a:t>
            </a:r>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2708138"/>
            <a:ext cx="6158232" cy="1042416"/>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8" name="Text Placeholder 2"/>
          <p:cNvSpPr>
            <a:spLocks noGrp="1"/>
          </p:cNvSpPr>
          <p:nvPr>
            <p:ph type="body" sz="quarter" idx="24"/>
            <p:custDataLst>
              <p:tags r:id="rId1"/>
            </p:custDataLst>
          </p:nvPr>
        </p:nvSpPr>
        <p:spPr>
          <a:xfrm>
            <a:off x="366712" y="1528360"/>
            <a:ext cx="2102167" cy="1046351"/>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2708138"/>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3883981"/>
            <a:ext cx="6158232" cy="1042416"/>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sz="quarter" idx="27"/>
            <p:custDataLst>
              <p:tags r:id="rId3"/>
            </p:custDataLst>
          </p:nvPr>
        </p:nvSpPr>
        <p:spPr>
          <a:xfrm>
            <a:off x="366712" y="3883981"/>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4" name="Content Placeholder 6"/>
          <p:cNvSpPr>
            <a:spLocks noGrp="1"/>
          </p:cNvSpPr>
          <p:nvPr>
            <p:ph sz="quarter" idx="28"/>
          </p:nvPr>
        </p:nvSpPr>
        <p:spPr>
          <a:xfrm>
            <a:off x="2622231" y="5059823"/>
            <a:ext cx="6158232" cy="1042416"/>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5" name="Text Placeholder 2"/>
          <p:cNvSpPr>
            <a:spLocks noGrp="1"/>
          </p:cNvSpPr>
          <p:nvPr>
            <p:ph type="body" sz="quarter" idx="29"/>
            <p:custDataLst>
              <p:tags r:id="rId4"/>
            </p:custDataLst>
          </p:nvPr>
        </p:nvSpPr>
        <p:spPr>
          <a:xfrm>
            <a:off x="366712" y="5059823"/>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57132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rrow 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893767"/>
            <a:ext cx="6158232" cy="1737360"/>
          </a:xfrm>
        </p:spPr>
        <p:txBody>
          <a:bodyPr vert="horz" lIns="0" tIns="0" rIns="0" bIns="0" rtlCol="0">
            <a:noAutofit/>
          </a:bodyPr>
          <a:lstStyle>
            <a:lvl1pPr>
              <a:defRPr lang="en-US" sz="160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4035305"/>
            <a:ext cx="6158232" cy="1737360"/>
          </a:xfrm>
        </p:spPr>
        <p:txBody>
          <a:bodyPr vert="horz" lIns="0" tIns="0" rIns="0" bIns="0" rtlCol="0">
            <a:noAutofit/>
          </a:bodyPr>
          <a:lstStyle>
            <a:lvl1pPr>
              <a:defRPr lang="en-US" sz="160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893767"/>
            <a:ext cx="2102167" cy="173736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4035305"/>
            <a:ext cx="2102167" cy="173736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3212598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rrow 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53961"/>
            <a:ext cx="6158232" cy="1234440"/>
          </a:xfrm>
        </p:spPr>
        <p:txBody>
          <a:bodyPr vert="horz" lIns="0" tIns="0" rIns="0" bIns="0" rtlCol="0">
            <a:noAutofit/>
          </a:bodyPr>
          <a:lstStyle>
            <a:lvl1pPr>
              <a:defRPr lang="en-US" sz="160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3202716"/>
            <a:ext cx="6158232" cy="1234440"/>
          </a:xfrm>
        </p:spPr>
        <p:txBody>
          <a:bodyPr vert="horz" lIns="0" tIns="0" rIns="0" bIns="0" rtlCol="0">
            <a:noAutofit/>
          </a:bodyPr>
          <a:lstStyle>
            <a:lvl1pPr>
              <a:defRPr lang="en-US" sz="160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53961"/>
            <a:ext cx="2102167" cy="123444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202716"/>
            <a:ext cx="2102167" cy="123444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4751471"/>
            <a:ext cx="6158232" cy="1234440"/>
          </a:xfrm>
        </p:spPr>
        <p:txBody>
          <a:bodyPr vert="horz" lIns="0" tIns="0" rIns="0" bIns="0" rtlCol="0">
            <a:noAutofit/>
          </a:bodyPr>
          <a:lstStyle>
            <a:lvl1pPr>
              <a:defRPr lang="en-US" sz="160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p:cNvSpPr>
            <a:spLocks noGrp="1"/>
          </p:cNvSpPr>
          <p:nvPr>
            <p:ph type="body" sz="quarter" idx="27"/>
            <p:custDataLst>
              <p:tags r:id="rId3"/>
            </p:custDataLst>
          </p:nvPr>
        </p:nvSpPr>
        <p:spPr>
          <a:xfrm>
            <a:off x="366712" y="4751471"/>
            <a:ext cx="2102167" cy="123444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447890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Arrow 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08696"/>
            <a:ext cx="6158232" cy="960120"/>
          </a:xfrm>
        </p:spPr>
        <p:txBody>
          <a:bodyPr vert="horz" lIns="0" tIns="0" rIns="0" bIns="0" rtlCol="0">
            <a:noAutofit/>
          </a:bodyPr>
          <a:lstStyle>
            <a:lvl1pPr>
              <a:defRPr lang="en-US" sz="1600" b="0" noProof="0" dirty="0" smtClean="0">
                <a:solidFill>
                  <a:schemeClr val="tx1"/>
                </a:solidFill>
              </a:defRPr>
            </a:lvl1pPr>
            <a:lvl2pPr>
              <a:defRPr lang="en-US" sz="1400" noProof="0" dirty="0" smtClean="0"/>
            </a:lvl2pPr>
            <a:lvl3pPr>
              <a:defRPr lang="en-US" sz="1400" noProof="0" dirty="0" smtClean="0"/>
            </a:lvl3pPr>
          </a:lstStyle>
          <a:p>
            <a:pPr lvl="0"/>
            <a:r>
              <a:rPr lang="en-US" noProof="0"/>
              <a:t>Click to edit Master text styles</a:t>
            </a:r>
          </a:p>
          <a:p>
            <a:pPr lvl="1"/>
            <a:r>
              <a:rPr lang="en-US" noProof="0"/>
              <a:t>Second level</a:t>
            </a:r>
          </a:p>
          <a:p>
            <a:pPr lvl="2"/>
            <a:r>
              <a:rPr lang="en-US" noProof="0"/>
              <a:t>Third level</a:t>
            </a:r>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2761213"/>
            <a:ext cx="6158232" cy="96012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8" name="Text Placeholder 2"/>
          <p:cNvSpPr>
            <a:spLocks noGrp="1"/>
          </p:cNvSpPr>
          <p:nvPr>
            <p:ph type="body" sz="quarter" idx="24"/>
            <p:custDataLst>
              <p:tags r:id="rId1"/>
            </p:custDataLst>
          </p:nvPr>
        </p:nvSpPr>
        <p:spPr>
          <a:xfrm>
            <a:off x="366712" y="1608696"/>
            <a:ext cx="2102167" cy="96012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2761213"/>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3913730"/>
            <a:ext cx="6158232" cy="96012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sz="quarter" idx="27"/>
            <p:custDataLst>
              <p:tags r:id="rId3"/>
            </p:custDataLst>
          </p:nvPr>
        </p:nvSpPr>
        <p:spPr>
          <a:xfrm>
            <a:off x="366712" y="3913730"/>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4" name="Content Placeholder 6"/>
          <p:cNvSpPr>
            <a:spLocks noGrp="1"/>
          </p:cNvSpPr>
          <p:nvPr>
            <p:ph sz="quarter" idx="28"/>
          </p:nvPr>
        </p:nvSpPr>
        <p:spPr>
          <a:xfrm>
            <a:off x="2622231" y="5066246"/>
            <a:ext cx="6158232" cy="96012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5" name="Text Placeholder 2"/>
          <p:cNvSpPr>
            <a:spLocks noGrp="1"/>
          </p:cNvSpPr>
          <p:nvPr>
            <p:ph type="body" sz="quarter" idx="29"/>
            <p:custDataLst>
              <p:tags r:id="rId4"/>
            </p:custDataLst>
          </p:nvPr>
        </p:nvSpPr>
        <p:spPr>
          <a:xfrm>
            <a:off x="366712" y="5066246"/>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74893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12" name="Freeform 6"/>
          <p:cNvSpPr>
            <a:spLocks/>
          </p:cNvSpPr>
          <p:nvPr userDrawn="1"/>
        </p:nvSpPr>
        <p:spPr bwMode="auto">
          <a:xfrm>
            <a:off x="3425840" y="0"/>
            <a:ext cx="5733420" cy="6858000"/>
          </a:xfrm>
          <a:custGeom>
            <a:avLst/>
            <a:gdLst/>
            <a:ahLst/>
            <a:cxnLst/>
            <a:rect l="l" t="t" r="r" b="b"/>
            <a:pathLst>
              <a:path w="5733420" h="6858000">
                <a:moveTo>
                  <a:pt x="0" y="0"/>
                </a:moveTo>
                <a:lnTo>
                  <a:pt x="634" y="0"/>
                </a:lnTo>
                <a:lnTo>
                  <a:pt x="5733420" y="0"/>
                </a:lnTo>
                <a:lnTo>
                  <a:pt x="5729588" y="6858000"/>
                </a:lnTo>
                <a:lnTo>
                  <a:pt x="3963034" y="685800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063564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19" name="Isosceles Triangle 18"/>
          <p:cNvSpPr/>
          <p:nvPr userDrawn="1"/>
        </p:nvSpPr>
        <p:spPr bwMode="auto">
          <a:xfrm>
            <a:off x="7496175" y="3993931"/>
            <a:ext cx="1661161" cy="2864069"/>
          </a:xfrm>
          <a:custGeom>
            <a:avLst/>
            <a:gdLst/>
            <a:ahLst/>
            <a:cxnLst/>
            <a:rect l="l" t="t" r="r" b="b"/>
            <a:pathLst>
              <a:path w="1661161" h="2864069">
                <a:moveTo>
                  <a:pt x="1661161" y="0"/>
                </a:moveTo>
                <a:lnTo>
                  <a:pt x="1661161" y="2864069"/>
                </a:lnTo>
                <a:lnTo>
                  <a:pt x="0" y="2864069"/>
                </a:lnTo>
                <a:close/>
              </a:path>
            </a:pathLst>
          </a:custGeom>
          <a:solidFill>
            <a:schemeClr val="accent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1" name="Freeform 6"/>
          <p:cNvSpPr>
            <a:spLocks/>
          </p:cNvSpPr>
          <p:nvPr userDrawn="1"/>
        </p:nvSpPr>
        <p:spPr bwMode="auto">
          <a:xfrm>
            <a:off x="4879047" y="0"/>
            <a:ext cx="4280213" cy="5697264"/>
          </a:xfrm>
          <a:custGeom>
            <a:avLst/>
            <a:gdLst/>
            <a:ahLst/>
            <a:cxnLst/>
            <a:rect l="l" t="t" r="r" b="b"/>
            <a:pathLst>
              <a:path w="4280213" h="5697264">
                <a:moveTo>
                  <a:pt x="0" y="0"/>
                </a:moveTo>
                <a:lnTo>
                  <a:pt x="634" y="0"/>
                </a:lnTo>
                <a:lnTo>
                  <a:pt x="4280213" y="0"/>
                </a:lnTo>
                <a:lnTo>
                  <a:pt x="4280213" y="3993931"/>
                </a:lnTo>
                <a:lnTo>
                  <a:pt x="3292279" y="569726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4" name="Isosceles Triangle 13"/>
          <p:cNvSpPr/>
          <p:nvPr userDrawn="1"/>
        </p:nvSpPr>
        <p:spPr bwMode="auto">
          <a:xfrm>
            <a:off x="7496175" y="5696782"/>
            <a:ext cx="1347013" cy="1161218"/>
          </a:xfrm>
          <a:prstGeom prst="triangle">
            <a:avLst/>
          </a:pr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pSp>
        <p:nvGrpSpPr>
          <p:cNvPr id="10" name="Group 9"/>
          <p:cNvGrpSpPr>
            <a:grpSpLocks noChangeAspect="1"/>
          </p:cNvGrpSpPr>
          <p:nvPr userDrawn="1"/>
        </p:nvGrpSpPr>
        <p:grpSpPr>
          <a:xfrm>
            <a:off x="374651" y="6431112"/>
            <a:ext cx="1673352" cy="328463"/>
            <a:chOff x="374651" y="6029325"/>
            <a:chExt cx="2054224" cy="403225"/>
          </a:xfrm>
        </p:grpSpPr>
        <p:sp>
          <p:nvSpPr>
            <p:cNvPr id="13"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5"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6" name="Freeform 15"/>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7" name="Freeform 16"/>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8" name="Freeform 17"/>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0" name="Freeform 19"/>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2" name="Freeform 21"/>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3" name="Freeform 22"/>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4"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5"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6"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7"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8"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9"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0"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1"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2"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3545528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Section Header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66441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21" name="Freeform 6"/>
          <p:cNvSpPr>
            <a:spLocks/>
          </p:cNvSpPr>
          <p:nvPr userDrawn="1"/>
        </p:nvSpPr>
        <p:spPr bwMode="auto">
          <a:xfrm>
            <a:off x="5506102" y="0"/>
            <a:ext cx="3648058" cy="5697264"/>
          </a:xfrm>
          <a:custGeom>
            <a:avLst/>
            <a:gdLst/>
            <a:ahLst/>
            <a:cxnLst/>
            <a:rect l="l" t="t" r="r" b="b"/>
            <a:pathLst>
              <a:path w="3648058" h="5697264">
                <a:moveTo>
                  <a:pt x="0" y="0"/>
                </a:moveTo>
                <a:lnTo>
                  <a:pt x="634" y="0"/>
                </a:lnTo>
                <a:lnTo>
                  <a:pt x="3648058" y="0"/>
                </a:lnTo>
                <a:lnTo>
                  <a:pt x="3648058" y="5083853"/>
                </a:lnTo>
                <a:lnTo>
                  <a:pt x="3292279" y="569726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9" name="Isosceles Triangle 18"/>
          <p:cNvSpPr/>
          <p:nvPr userDrawn="1"/>
        </p:nvSpPr>
        <p:spPr bwMode="auto">
          <a:xfrm>
            <a:off x="7315116" y="3687235"/>
            <a:ext cx="1839045" cy="3170765"/>
          </a:xfrm>
          <a:custGeom>
            <a:avLst/>
            <a:gdLst/>
            <a:ahLst/>
            <a:cxnLst/>
            <a:rect l="l" t="t" r="r" b="b"/>
            <a:pathLst>
              <a:path w="1839045" h="3170765">
                <a:moveTo>
                  <a:pt x="1839045" y="0"/>
                </a:moveTo>
                <a:lnTo>
                  <a:pt x="1839045" y="3170765"/>
                </a:lnTo>
                <a:lnTo>
                  <a:pt x="0" y="3170765"/>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14" name="Isosceles Triangle 13"/>
          <p:cNvSpPr/>
          <p:nvPr userDrawn="1"/>
        </p:nvSpPr>
        <p:spPr bwMode="auto">
          <a:xfrm>
            <a:off x="7315115" y="4997292"/>
            <a:ext cx="1839045" cy="1860708"/>
          </a:xfrm>
          <a:custGeom>
            <a:avLst/>
            <a:gdLst/>
            <a:ahLst/>
            <a:cxnLst/>
            <a:rect l="l" t="t" r="r" b="b"/>
            <a:pathLst>
              <a:path w="1839045" h="1860708">
                <a:moveTo>
                  <a:pt x="1079211" y="0"/>
                </a:moveTo>
                <a:lnTo>
                  <a:pt x="1839045" y="1310060"/>
                </a:lnTo>
                <a:lnTo>
                  <a:pt x="1839045" y="1860708"/>
                </a:lnTo>
                <a:lnTo>
                  <a:pt x="0" y="1860708"/>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pSp>
        <p:nvGrpSpPr>
          <p:cNvPr id="9" name="Group 8"/>
          <p:cNvGrpSpPr>
            <a:grpSpLocks noChangeAspect="1"/>
          </p:cNvGrpSpPr>
          <p:nvPr userDrawn="1"/>
        </p:nvGrpSpPr>
        <p:grpSpPr>
          <a:xfrm>
            <a:off x="374651" y="6431112"/>
            <a:ext cx="1673352" cy="328463"/>
            <a:chOff x="374651" y="6029325"/>
            <a:chExt cx="2054224" cy="403225"/>
          </a:xfrm>
        </p:grpSpPr>
        <p:sp>
          <p:nvSpPr>
            <p:cNvPr id="10"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2"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3" name="Freeform 12"/>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5" name="Freeform 14"/>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6" name="Freeform 15"/>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7" name="Freeform 16"/>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8" name="Freeform 17"/>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0" name="Freeform 19"/>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2"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3"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4"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5"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6"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7"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8"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9"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0"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4126834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Section Header 3">
    <p:spTree>
      <p:nvGrpSpPr>
        <p:cNvPr id="1" name=""/>
        <p:cNvGrpSpPr/>
        <p:nvPr/>
      </p:nvGrpSpPr>
      <p:grpSpPr>
        <a:xfrm>
          <a:off x="0" y="0"/>
          <a:ext cx="0" cy="0"/>
          <a:chOff x="0" y="0"/>
          <a:chExt cx="0" cy="0"/>
        </a:xfrm>
      </p:grpSpPr>
      <p:sp>
        <p:nvSpPr>
          <p:cNvPr id="2" name="Title 1"/>
          <p:cNvSpPr>
            <a:spLocks noGrp="1"/>
          </p:cNvSpPr>
          <p:nvPr>
            <p:ph type="ctrTitle"/>
          </p:nvPr>
        </p:nvSpPr>
        <p:spPr>
          <a:xfrm>
            <a:off x="367506" y="2220544"/>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3223749"/>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4" name="Rectangle 3"/>
          <p:cNvSpPr/>
          <p:nvPr userDrawn="1"/>
        </p:nvSpPr>
        <p:spPr bwMode="auto">
          <a:xfrm>
            <a:off x="0" y="3942080"/>
            <a:ext cx="8034337" cy="2915920"/>
          </a:xfrm>
          <a:custGeom>
            <a:avLst/>
            <a:gdLst>
              <a:gd name="connsiteX0" fmla="*/ 0 w 9142413"/>
              <a:gd name="connsiteY0" fmla="*/ 0 h 2915920"/>
              <a:gd name="connsiteX1" fmla="*/ 9142413 w 9142413"/>
              <a:gd name="connsiteY1" fmla="*/ 0 h 2915920"/>
              <a:gd name="connsiteX2" fmla="*/ 9142413 w 9142413"/>
              <a:gd name="connsiteY2" fmla="*/ 2915920 h 2915920"/>
              <a:gd name="connsiteX3" fmla="*/ 0 w 9142413"/>
              <a:gd name="connsiteY3" fmla="*/ 2915920 h 2915920"/>
              <a:gd name="connsiteX4" fmla="*/ 0 w 9142413"/>
              <a:gd name="connsiteY4" fmla="*/ 0 h 2915920"/>
              <a:gd name="connsiteX0" fmla="*/ 0 w 9142413"/>
              <a:gd name="connsiteY0" fmla="*/ 0 h 2915920"/>
              <a:gd name="connsiteX1" fmla="*/ 9142413 w 9142413"/>
              <a:gd name="connsiteY1" fmla="*/ 2915920 h 2915920"/>
              <a:gd name="connsiteX2" fmla="*/ 0 w 9142413"/>
              <a:gd name="connsiteY2" fmla="*/ 2915920 h 2915920"/>
              <a:gd name="connsiteX3" fmla="*/ 0 w 9142413"/>
              <a:gd name="connsiteY3" fmla="*/ 0 h 2915920"/>
            </a:gdLst>
            <a:ahLst/>
            <a:cxnLst>
              <a:cxn ang="0">
                <a:pos x="connsiteX0" y="connsiteY0"/>
              </a:cxn>
              <a:cxn ang="0">
                <a:pos x="connsiteX1" y="connsiteY1"/>
              </a:cxn>
              <a:cxn ang="0">
                <a:pos x="connsiteX2" y="connsiteY2"/>
              </a:cxn>
              <a:cxn ang="0">
                <a:pos x="connsiteX3" y="connsiteY3"/>
              </a:cxn>
            </a:cxnLst>
            <a:rect l="l" t="t" r="r" b="b"/>
            <a:pathLst>
              <a:path w="9142413" h="2915920">
                <a:moveTo>
                  <a:pt x="0" y="0"/>
                </a:moveTo>
                <a:lnTo>
                  <a:pt x="9142413" y="2915920"/>
                </a:lnTo>
                <a:lnTo>
                  <a:pt x="0" y="2915920"/>
                </a:lnTo>
                <a:lnTo>
                  <a:pt x="0" y="0"/>
                </a:lnTo>
                <a:close/>
              </a:path>
            </a:pathLst>
          </a:cu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559815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tangle 3"/>
          <p:cNvSpPr/>
          <p:nvPr userDrawn="1"/>
        </p:nvSpPr>
        <p:spPr bwMode="auto">
          <a:xfrm flipH="1">
            <a:off x="6443185" y="4140200"/>
            <a:ext cx="2706767" cy="2717800"/>
          </a:xfrm>
          <a:custGeom>
            <a:avLst/>
            <a:gdLst/>
            <a:ahLst/>
            <a:cxnLst/>
            <a:rect l="l" t="t" r="r" b="b"/>
            <a:pathLst>
              <a:path w="2706767" h="2717800">
                <a:moveTo>
                  <a:pt x="0" y="0"/>
                </a:moveTo>
                <a:lnTo>
                  <a:pt x="0" y="2717800"/>
                </a:lnTo>
                <a:lnTo>
                  <a:pt x="2706767" y="2717800"/>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pic>
        <p:nvPicPr>
          <p:cNvPr id="17" name="Picture 1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
        <p:nvSpPr>
          <p:cNvPr id="18" name="Rectangle 3"/>
          <p:cNvSpPr/>
          <p:nvPr userDrawn="1"/>
        </p:nvSpPr>
        <p:spPr bwMode="auto">
          <a:xfrm>
            <a:off x="6443185" y="6433837"/>
            <a:ext cx="1591152" cy="424163"/>
          </a:xfrm>
          <a:custGeom>
            <a:avLst/>
            <a:gdLst/>
            <a:ahLst/>
            <a:cxnLst/>
            <a:rect l="l" t="t" r="r" b="b"/>
            <a:pathLst>
              <a:path w="1591152" h="424163">
                <a:moveTo>
                  <a:pt x="422441" y="0"/>
                </a:moveTo>
                <a:lnTo>
                  <a:pt x="1591152" y="424163"/>
                </a:lnTo>
                <a:lnTo>
                  <a:pt x="0" y="424163"/>
                </a:lnTo>
                <a:close/>
              </a:path>
            </a:pathLst>
          </a:custGeom>
          <a:solidFill>
            <a:schemeClr val="bg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3" name="Rectangle 3"/>
          <p:cNvSpPr/>
          <p:nvPr userDrawn="1"/>
        </p:nvSpPr>
        <p:spPr bwMode="auto">
          <a:xfrm flipH="1">
            <a:off x="7443993" y="5145088"/>
            <a:ext cx="1705959" cy="1712912"/>
          </a:xfrm>
          <a:custGeom>
            <a:avLst/>
            <a:gdLst/>
            <a:ahLst/>
            <a:cxnLst/>
            <a:rect l="l" t="t" r="r" b="b"/>
            <a:pathLst>
              <a:path w="1705959" h="1712912">
                <a:moveTo>
                  <a:pt x="0" y="0"/>
                </a:moveTo>
                <a:lnTo>
                  <a:pt x="0" y="1712912"/>
                </a:lnTo>
                <a:lnTo>
                  <a:pt x="1705959" y="1712912"/>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5" name="Rectangle 3"/>
          <p:cNvSpPr/>
          <p:nvPr userDrawn="1"/>
        </p:nvSpPr>
        <p:spPr bwMode="auto">
          <a:xfrm>
            <a:off x="7443993" y="6700629"/>
            <a:ext cx="590344" cy="157371"/>
          </a:xfrm>
          <a:custGeom>
            <a:avLst/>
            <a:gdLst/>
            <a:ahLst/>
            <a:cxnLst/>
            <a:rect l="l" t="t" r="r" b="b"/>
            <a:pathLst>
              <a:path w="590344" h="157371">
                <a:moveTo>
                  <a:pt x="156733" y="0"/>
                </a:moveTo>
                <a:lnTo>
                  <a:pt x="590344" y="157371"/>
                </a:lnTo>
                <a:lnTo>
                  <a:pt x="0" y="157371"/>
                </a:lnTo>
                <a:close/>
              </a:path>
            </a:pathLst>
          </a:custGeom>
          <a:solidFill>
            <a:srgbClr val="A1052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Tree>
    <p:extLst>
      <p:ext uri="{BB962C8B-B14F-4D97-AF65-F5344CB8AC3E}">
        <p14:creationId xmlns:p14="http://schemas.microsoft.com/office/powerpoint/2010/main" val="1719813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Section Header 4">
    <p:bg>
      <p:bgPr>
        <a:solidFill>
          <a:schemeClr val="accent1"/>
        </a:solidFill>
        <a:effectLst/>
      </p:bgPr>
    </p:bg>
    <p:spTree>
      <p:nvGrpSpPr>
        <p:cNvPr id="1" name=""/>
        <p:cNvGrpSpPr/>
        <p:nvPr/>
      </p:nvGrpSpPr>
      <p:grpSpPr>
        <a:xfrm>
          <a:off x="0" y="0"/>
          <a:ext cx="0" cy="0"/>
          <a:chOff x="0" y="0"/>
          <a:chExt cx="0" cy="0"/>
        </a:xfrm>
      </p:grpSpPr>
      <p:sp>
        <p:nvSpPr>
          <p:cNvPr id="12" name="Freeform 6"/>
          <p:cNvSpPr>
            <a:spLocks/>
          </p:cNvSpPr>
          <p:nvPr userDrawn="1"/>
        </p:nvSpPr>
        <p:spPr bwMode="auto">
          <a:xfrm>
            <a:off x="3425840" y="0"/>
            <a:ext cx="5733420" cy="6858000"/>
          </a:xfrm>
          <a:custGeom>
            <a:avLst/>
            <a:gdLst/>
            <a:ahLst/>
            <a:cxnLst/>
            <a:rect l="l" t="t" r="r" b="b"/>
            <a:pathLst>
              <a:path w="5733420" h="6858000">
                <a:moveTo>
                  <a:pt x="0" y="0"/>
                </a:moveTo>
                <a:lnTo>
                  <a:pt x="634" y="0"/>
                </a:lnTo>
                <a:lnTo>
                  <a:pt x="5733420" y="0"/>
                </a:lnTo>
                <a:lnTo>
                  <a:pt x="5729588" y="6858000"/>
                </a:lnTo>
                <a:lnTo>
                  <a:pt x="3963034" y="685800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89529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bg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19" name="Isosceles Triangle 18"/>
          <p:cNvSpPr/>
          <p:nvPr userDrawn="1"/>
        </p:nvSpPr>
        <p:spPr bwMode="auto">
          <a:xfrm>
            <a:off x="7496175" y="3993931"/>
            <a:ext cx="1661161" cy="2864069"/>
          </a:xfrm>
          <a:custGeom>
            <a:avLst/>
            <a:gdLst/>
            <a:ahLst/>
            <a:cxnLst/>
            <a:rect l="l" t="t" r="r" b="b"/>
            <a:pathLst>
              <a:path w="1661161" h="2864069">
                <a:moveTo>
                  <a:pt x="1661161" y="0"/>
                </a:moveTo>
                <a:lnTo>
                  <a:pt x="1661161" y="2864069"/>
                </a:lnTo>
                <a:lnTo>
                  <a:pt x="0" y="2864069"/>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1" name="Freeform 6"/>
          <p:cNvSpPr>
            <a:spLocks/>
          </p:cNvSpPr>
          <p:nvPr userDrawn="1"/>
        </p:nvSpPr>
        <p:spPr bwMode="auto">
          <a:xfrm>
            <a:off x="4879047" y="0"/>
            <a:ext cx="4280213" cy="5697264"/>
          </a:xfrm>
          <a:custGeom>
            <a:avLst/>
            <a:gdLst/>
            <a:ahLst/>
            <a:cxnLst/>
            <a:rect l="l" t="t" r="r" b="b"/>
            <a:pathLst>
              <a:path w="4280213" h="5697264">
                <a:moveTo>
                  <a:pt x="0" y="0"/>
                </a:moveTo>
                <a:lnTo>
                  <a:pt x="634" y="0"/>
                </a:lnTo>
                <a:lnTo>
                  <a:pt x="4280213" y="0"/>
                </a:lnTo>
                <a:lnTo>
                  <a:pt x="4280213" y="3993931"/>
                </a:lnTo>
                <a:lnTo>
                  <a:pt x="3292279" y="569726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4" name="Isosceles Triangle 13"/>
          <p:cNvSpPr/>
          <p:nvPr userDrawn="1"/>
        </p:nvSpPr>
        <p:spPr bwMode="auto">
          <a:xfrm>
            <a:off x="7496175" y="5696782"/>
            <a:ext cx="1347013" cy="1161218"/>
          </a:xfrm>
          <a:prstGeom prst="triangle">
            <a:avLst/>
          </a:pr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2757225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lor Background 2">
    <p:spTree>
      <p:nvGrpSpPr>
        <p:cNvPr id="1" name=""/>
        <p:cNvGrpSpPr/>
        <p:nvPr/>
      </p:nvGrpSpPr>
      <p:grpSpPr>
        <a:xfrm>
          <a:off x="0" y="0"/>
          <a:ext cx="0" cy="0"/>
          <a:chOff x="0" y="0"/>
          <a:chExt cx="0" cy="0"/>
        </a:xfrm>
      </p:grpSpPr>
      <p:sp>
        <p:nvSpPr>
          <p:cNvPr id="9" name="Rectangle 8"/>
          <p:cNvSpPr/>
          <p:nvPr userDrawn="1"/>
        </p:nvSpPr>
        <p:spPr bwMode="auto">
          <a:xfrm>
            <a:off x="0" y="0"/>
            <a:ext cx="9144000" cy="6216650"/>
          </a:xfrm>
          <a:prstGeom prst="rect">
            <a:avLst/>
          </a:prstGeom>
          <a:solidFill>
            <a:schemeClr val="accent3"/>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0" name="Rectangle 16"/>
          <p:cNvSpPr/>
          <p:nvPr userDrawn="1"/>
        </p:nvSpPr>
        <p:spPr bwMode="auto">
          <a:xfrm>
            <a:off x="0" y="0"/>
            <a:ext cx="6496088" cy="6216650"/>
          </a:xfrm>
          <a:custGeom>
            <a:avLst/>
            <a:gdLst/>
            <a:ahLst/>
            <a:cxnLst/>
            <a:rect l="l" t="t" r="r" b="b"/>
            <a:pathLst>
              <a:path w="6496088" h="6216650">
                <a:moveTo>
                  <a:pt x="0" y="0"/>
                </a:moveTo>
                <a:lnTo>
                  <a:pt x="6496088" y="0"/>
                </a:lnTo>
                <a:cubicBezTo>
                  <a:pt x="6224151" y="475381"/>
                  <a:pt x="2923062" y="6156962"/>
                  <a:pt x="2900554" y="6216650"/>
                </a:cubicBezTo>
                <a:lnTo>
                  <a:pt x="0" y="6216650"/>
                </a:lnTo>
                <a:close/>
              </a:path>
            </a:pathLst>
          </a:custGeom>
          <a:solidFill>
            <a:schemeClr val="accent1"/>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1" name="Rectangle 12"/>
          <p:cNvSpPr/>
          <p:nvPr userDrawn="1"/>
        </p:nvSpPr>
        <p:spPr bwMode="auto">
          <a:xfrm>
            <a:off x="1" y="0"/>
            <a:ext cx="1179707" cy="2041416"/>
          </a:xfrm>
          <a:custGeom>
            <a:avLst/>
            <a:gdLst/>
            <a:ahLst/>
            <a:cxnLst/>
            <a:rect l="l" t="t" r="r" b="b"/>
            <a:pathLst>
              <a:path w="1179707" h="2041416">
                <a:moveTo>
                  <a:pt x="0" y="0"/>
                </a:moveTo>
                <a:lnTo>
                  <a:pt x="1179707" y="0"/>
                </a:lnTo>
                <a:cubicBezTo>
                  <a:pt x="667559" y="883988"/>
                  <a:pt x="213348" y="1669135"/>
                  <a:pt x="0" y="2041416"/>
                </a:cubicBezTo>
                <a:close/>
              </a:path>
            </a:pathLst>
          </a:custGeom>
          <a:solidFill>
            <a:schemeClr val="bg2"/>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2" name="Rectangle 9"/>
          <p:cNvSpPr/>
          <p:nvPr userDrawn="1"/>
        </p:nvSpPr>
        <p:spPr bwMode="auto">
          <a:xfrm>
            <a:off x="7596336" y="3534372"/>
            <a:ext cx="1547664" cy="2682279"/>
          </a:xfrm>
          <a:custGeom>
            <a:avLst/>
            <a:gdLst/>
            <a:ahLst/>
            <a:cxnLst/>
            <a:rect l="l" t="t" r="r" b="b"/>
            <a:pathLst>
              <a:path w="1547664" h="2682279">
                <a:moveTo>
                  <a:pt x="1547664" y="0"/>
                </a:moveTo>
                <a:lnTo>
                  <a:pt x="1547664" y="2682279"/>
                </a:lnTo>
                <a:lnTo>
                  <a:pt x="0" y="2682279"/>
                </a:lnTo>
                <a:cubicBezTo>
                  <a:pt x="10572" y="2654246"/>
                  <a:pt x="744233" y="1386307"/>
                  <a:pt x="1547664" y="0"/>
                </a:cubicBezTo>
                <a:close/>
              </a:path>
            </a:pathLst>
          </a:custGeom>
          <a:solidFill>
            <a:schemeClr val="accent4"/>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3" name="Rectangle 17"/>
          <p:cNvSpPr/>
          <p:nvPr userDrawn="1"/>
        </p:nvSpPr>
        <p:spPr bwMode="auto">
          <a:xfrm>
            <a:off x="8596064" y="5261240"/>
            <a:ext cx="547936" cy="955410"/>
          </a:xfrm>
          <a:custGeom>
            <a:avLst/>
            <a:gdLst/>
            <a:ahLst/>
            <a:cxnLst/>
            <a:rect l="l" t="t" r="r" b="b"/>
            <a:pathLst>
              <a:path w="547936" h="955410">
                <a:moveTo>
                  <a:pt x="547936" y="0"/>
                </a:moveTo>
                <a:lnTo>
                  <a:pt x="547936" y="955410"/>
                </a:lnTo>
                <a:lnTo>
                  <a:pt x="0" y="955410"/>
                </a:lnTo>
                <a:cubicBezTo>
                  <a:pt x="5725" y="940240"/>
                  <a:pt x="222775" y="562702"/>
                  <a:pt x="547936" y="0"/>
                </a:cubicBezTo>
                <a:close/>
              </a:path>
            </a:pathLst>
          </a:custGeom>
          <a:solidFill>
            <a:srgbClr val="A10524"/>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2" name="Title 1"/>
          <p:cNvSpPr>
            <a:spLocks noGrp="1"/>
          </p:cNvSpPr>
          <p:nvPr>
            <p:ph type="title"/>
          </p:nvPr>
        </p:nvSpPr>
        <p:spPr>
          <a:xfrm>
            <a:off x="302578" y="2431217"/>
            <a:ext cx="8526244" cy="677108"/>
          </a:xfrm>
        </p:spPr>
        <p:txBody>
          <a:bodyPr lIns="91440" tIns="91440" rIns="91440" bIns="91440" anchor="ctr" anchorCtr="0"/>
          <a:lstStyle>
            <a:lvl1pPr algn="ctr">
              <a:defRPr sz="4000" baseline="0">
                <a:solidFill>
                  <a:schemeClr val="bg1"/>
                </a:solidFill>
              </a:defRPr>
            </a:lvl1pPr>
          </a:lstStyle>
          <a:p>
            <a:r>
              <a:rPr lang="en-US" noProof="0"/>
              <a:t>Click to edit Master title style</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59840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or Background with Title and Conten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solidFill>
                  <a:schemeClr val="bg1"/>
                </a:solidFill>
              </a:defRPr>
            </a:lvl1pPr>
          </a:lstStyle>
          <a:p>
            <a:r>
              <a:rPr lang="en-US" noProof="0"/>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solidFill>
                  <a:schemeClr val="bg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7" name="Freeform 783"/>
          <p:cNvSpPr>
            <a:spLocks/>
          </p:cNvSpPr>
          <p:nvPr userDrawn="1"/>
        </p:nvSpPr>
        <p:spPr bwMode="auto">
          <a:xfrm>
            <a:off x="8256901" y="5314384"/>
            <a:ext cx="897577" cy="1552352"/>
          </a:xfrm>
          <a:custGeom>
            <a:avLst/>
            <a:gdLst/>
            <a:ahLst/>
            <a:cxnLst/>
            <a:rect l="l" t="t" r="r" b="b"/>
            <a:pathLst>
              <a:path w="897577" h="1552352">
                <a:moveTo>
                  <a:pt x="897577" y="0"/>
                </a:moveTo>
                <a:lnTo>
                  <a:pt x="897577" y="917479"/>
                </a:lnTo>
                <a:lnTo>
                  <a:pt x="897577" y="917480"/>
                </a:lnTo>
                <a:lnTo>
                  <a:pt x="897577" y="1552352"/>
                </a:lnTo>
                <a:lnTo>
                  <a:pt x="736372" y="1552352"/>
                </a:lnTo>
                <a:lnTo>
                  <a:pt x="736371" y="1552352"/>
                </a:lnTo>
                <a:lnTo>
                  <a:pt x="0" y="1552352"/>
                </a:lnTo>
                <a:lnTo>
                  <a:pt x="368185" y="917480"/>
                </a:lnTo>
                <a:lnTo>
                  <a:pt x="368185" y="917480"/>
                </a:lnTo>
                <a:lnTo>
                  <a:pt x="368185" y="917480"/>
                </a:lnTo>
                <a:lnTo>
                  <a:pt x="368185" y="917479"/>
                </a:lnTo>
                <a:lnTo>
                  <a:pt x="368186" y="917479"/>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4D4D4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2928571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Horz 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528360"/>
            <a:ext cx="6158232" cy="1046351"/>
          </a:xfrm>
        </p:spPr>
        <p:txBody>
          <a:bodyPr vert="horz" lIns="0" tIns="0" rIns="0" bIns="0" rtlCol="0">
            <a:noAutofit/>
          </a:bodyPr>
          <a:lstStyle>
            <a:lvl1pPr>
              <a:defRPr lang="en-US" sz="1600" b="0" noProof="0" dirty="0" smtClean="0">
                <a:solidFill>
                  <a:schemeClr val="tx1"/>
                </a:solidFill>
              </a:defRPr>
            </a:lvl1pPr>
            <a:lvl2pPr>
              <a:defRPr lang="en-US" sz="1400" noProof="0" dirty="0" smtClean="0"/>
            </a:lvl2pPr>
            <a:lvl3pPr>
              <a:defRPr lang="en-US" sz="1400" noProof="0" dirty="0" smtClean="0"/>
            </a:lvl3pPr>
          </a:lstStyle>
          <a:p>
            <a:pPr lvl="0"/>
            <a:r>
              <a:rPr lang="en-US" noProof="0"/>
              <a:t>Click to edit Master text styles</a:t>
            </a:r>
          </a:p>
          <a:p>
            <a:pPr lvl="1"/>
            <a:r>
              <a:rPr lang="en-US" noProof="0"/>
              <a:t>Second level</a:t>
            </a:r>
          </a:p>
          <a:p>
            <a:pPr lvl="2"/>
            <a:r>
              <a:rPr lang="en-US" noProof="0"/>
              <a:t>Third level</a:t>
            </a:r>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noProof="0"/>
              <a:pPr>
                <a:defRPr/>
              </a:pPr>
              <a:t>‹#›</a:t>
            </a:fld>
            <a:endParaRPr lang="en-US" noProof="0" dirty="0"/>
          </a:p>
        </p:txBody>
      </p:sp>
      <p:sp>
        <p:nvSpPr>
          <p:cNvPr id="7" name="Content Placeholder 6"/>
          <p:cNvSpPr>
            <a:spLocks noGrp="1"/>
          </p:cNvSpPr>
          <p:nvPr>
            <p:ph sz="quarter" idx="16"/>
          </p:nvPr>
        </p:nvSpPr>
        <p:spPr>
          <a:xfrm>
            <a:off x="2622231" y="2708138"/>
            <a:ext cx="6158232" cy="1042416"/>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8" name="Text Placeholder 2"/>
          <p:cNvSpPr>
            <a:spLocks noGrp="1"/>
          </p:cNvSpPr>
          <p:nvPr>
            <p:ph type="body" sz="quarter" idx="24"/>
            <p:custDataLst>
              <p:tags r:id="rId1"/>
            </p:custDataLst>
          </p:nvPr>
        </p:nvSpPr>
        <p:spPr>
          <a:xfrm>
            <a:off x="366712" y="1528360"/>
            <a:ext cx="2102167" cy="1046351"/>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2708138"/>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3883981"/>
            <a:ext cx="6158232" cy="1042416"/>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sz="quarter" idx="27"/>
            <p:custDataLst>
              <p:tags r:id="rId3"/>
            </p:custDataLst>
          </p:nvPr>
        </p:nvSpPr>
        <p:spPr>
          <a:xfrm>
            <a:off x="366712" y="3883981"/>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4" name="Content Placeholder 6"/>
          <p:cNvSpPr>
            <a:spLocks noGrp="1"/>
          </p:cNvSpPr>
          <p:nvPr>
            <p:ph sz="quarter" idx="28"/>
          </p:nvPr>
        </p:nvSpPr>
        <p:spPr>
          <a:xfrm>
            <a:off x="2622231" y="5059823"/>
            <a:ext cx="6158232" cy="1042416"/>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5" name="Text Placeholder 2"/>
          <p:cNvSpPr>
            <a:spLocks noGrp="1"/>
          </p:cNvSpPr>
          <p:nvPr>
            <p:ph type="body" sz="quarter" idx="29"/>
            <p:custDataLst>
              <p:tags r:id="rId4"/>
            </p:custDataLst>
          </p:nvPr>
        </p:nvSpPr>
        <p:spPr>
          <a:xfrm>
            <a:off x="366712" y="5059823"/>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695003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Color Background with 3 Columns">
    <p:bg>
      <p:bgPr>
        <a:solidFill>
          <a:schemeClr val="accent1"/>
        </a:solidFill>
        <a:effectLst/>
      </p:bgPr>
    </p:bg>
    <p:spTree>
      <p:nvGrpSpPr>
        <p:cNvPr id="1" name=""/>
        <p:cNvGrpSpPr/>
        <p:nvPr/>
      </p:nvGrpSpPr>
      <p:grpSpPr>
        <a:xfrm>
          <a:off x="0" y="0"/>
          <a:ext cx="0" cy="0"/>
          <a:chOff x="0" y="0"/>
          <a:chExt cx="0" cy="0"/>
        </a:xfrm>
      </p:grpSpPr>
      <p:sp>
        <p:nvSpPr>
          <p:cNvPr id="8" name="Freeform 783"/>
          <p:cNvSpPr>
            <a:spLocks/>
          </p:cNvSpPr>
          <p:nvPr userDrawn="1"/>
        </p:nvSpPr>
        <p:spPr bwMode="auto">
          <a:xfrm>
            <a:off x="8256901" y="5314384"/>
            <a:ext cx="897577" cy="1552352"/>
          </a:xfrm>
          <a:custGeom>
            <a:avLst/>
            <a:gdLst/>
            <a:ahLst/>
            <a:cxnLst/>
            <a:rect l="l" t="t" r="r" b="b"/>
            <a:pathLst>
              <a:path w="897577" h="1552352">
                <a:moveTo>
                  <a:pt x="897577" y="0"/>
                </a:moveTo>
                <a:lnTo>
                  <a:pt x="897577" y="917479"/>
                </a:lnTo>
                <a:lnTo>
                  <a:pt x="897577" y="917480"/>
                </a:lnTo>
                <a:lnTo>
                  <a:pt x="897577" y="1552352"/>
                </a:lnTo>
                <a:lnTo>
                  <a:pt x="736372" y="1552352"/>
                </a:lnTo>
                <a:lnTo>
                  <a:pt x="736371" y="1552352"/>
                </a:lnTo>
                <a:lnTo>
                  <a:pt x="0" y="1552352"/>
                </a:lnTo>
                <a:lnTo>
                  <a:pt x="368185" y="917480"/>
                </a:lnTo>
                <a:lnTo>
                  <a:pt x="368185" y="917480"/>
                </a:lnTo>
                <a:lnTo>
                  <a:pt x="368185" y="917480"/>
                </a:lnTo>
                <a:lnTo>
                  <a:pt x="368185" y="917479"/>
                </a:lnTo>
                <a:lnTo>
                  <a:pt x="368186" y="917479"/>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4D4D4F"/>
              </a:solidFill>
            </a:endParaRPr>
          </a:p>
        </p:txBody>
      </p:sp>
      <p:sp>
        <p:nvSpPr>
          <p:cNvPr id="2" name="Title 1"/>
          <p:cNvSpPr>
            <a:spLocks noGrp="1"/>
          </p:cNvSpPr>
          <p:nvPr>
            <p:ph type="title"/>
          </p:nvPr>
        </p:nvSpPr>
        <p:spPr>
          <a:xfrm>
            <a:off x="363538" y="629512"/>
            <a:ext cx="8526244" cy="347472"/>
          </a:xfrm>
        </p:spPr>
        <p:txBody>
          <a:bodyPr/>
          <a:lstStyle>
            <a:lvl1pPr>
              <a:defRPr baseline="0">
                <a:solidFill>
                  <a:schemeClr val="bg1"/>
                </a:solidFill>
              </a:defRPr>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2725102" cy="4343400"/>
          </a:xfrm>
        </p:spPr>
        <p:txBody>
          <a:bodyPr/>
          <a:lstStyle>
            <a:lvl1pPr marL="0" indent="0">
              <a:spcBef>
                <a:spcPts val="0"/>
              </a:spcBef>
              <a:spcAft>
                <a:spcPts val="600"/>
              </a:spcAft>
              <a:buClr>
                <a:schemeClr val="bg1"/>
              </a:buClr>
              <a:buFont typeface="Arial" panose="020B0604020202020204" pitchFamily="34" charset="0"/>
              <a:buChar char="​"/>
              <a:defRPr sz="1600" b="1">
                <a:solidFill>
                  <a:schemeClr val="bg1"/>
                </a:solidFill>
              </a:defRPr>
            </a:lvl1pPr>
            <a:lvl2pPr marL="233363" indent="-233363">
              <a:buClr>
                <a:schemeClr val="bg1"/>
              </a:buClr>
              <a:defRPr sz="1400">
                <a:solidFill>
                  <a:schemeClr val="bg1"/>
                </a:solidFill>
              </a:defRPr>
            </a:lvl2pPr>
            <a:lvl3pPr marL="457200" indent="-223838">
              <a:buClr>
                <a:schemeClr val="bg1"/>
              </a:buClr>
              <a:buFont typeface="Arial" panose="020B0604020202020204" pitchFamily="34" charset="0"/>
              <a:buChar char="»"/>
              <a:defRPr sz="1400">
                <a:solidFill>
                  <a:schemeClr val="bg1"/>
                </a:solidFill>
              </a:defRPr>
            </a:lvl3pPr>
            <a:lvl4pPr marL="690563" indent="-233363">
              <a:buClr>
                <a:schemeClr val="bg1"/>
              </a:buClr>
              <a:defRPr sz="1200">
                <a:solidFill>
                  <a:schemeClr val="bg1"/>
                </a:solidFill>
              </a:defRPr>
            </a:lvl4pPr>
            <a:lvl5pPr marL="974725" indent="-284163">
              <a:buClr>
                <a:schemeClr val="bg1"/>
              </a:buClr>
              <a:defRPr sz="1200">
                <a:solidFill>
                  <a:schemeClr val="bg1"/>
                </a:solidFill>
              </a:defRPr>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Content Placeholder 4"/>
          <p:cNvSpPr>
            <a:spLocks noGrp="1"/>
          </p:cNvSpPr>
          <p:nvPr>
            <p:ph sz="quarter" idx="17"/>
          </p:nvPr>
        </p:nvSpPr>
        <p:spPr>
          <a:xfrm>
            <a:off x="3217482" y="1206500"/>
            <a:ext cx="2724912" cy="4338638"/>
          </a:xfrm>
        </p:spPr>
        <p:txBody>
          <a:bodyPr/>
          <a:lstStyle>
            <a:lvl1pPr marL="0" indent="0">
              <a:spcBef>
                <a:spcPts val="0"/>
              </a:spcBef>
              <a:spcAft>
                <a:spcPts val="600"/>
              </a:spcAft>
              <a:buClr>
                <a:schemeClr val="bg1"/>
              </a:buClr>
              <a:buFont typeface="Arial" panose="020B0604020202020204" pitchFamily="34" charset="0"/>
              <a:buChar char="​"/>
              <a:defRPr sz="1600" b="1">
                <a:solidFill>
                  <a:schemeClr val="bg1"/>
                </a:solidFill>
              </a:defRPr>
            </a:lvl1pPr>
            <a:lvl2pPr marL="233363" indent="-233363">
              <a:buClr>
                <a:schemeClr val="bg1"/>
              </a:buClr>
              <a:defRPr sz="1400">
                <a:solidFill>
                  <a:schemeClr val="bg1"/>
                </a:solidFill>
              </a:defRPr>
            </a:lvl2pPr>
            <a:lvl3pPr marL="457200" indent="-223838">
              <a:buClr>
                <a:schemeClr val="bg1"/>
              </a:buClr>
              <a:defRPr sz="1400">
                <a:solidFill>
                  <a:schemeClr val="bg1"/>
                </a:solidFill>
              </a:defRPr>
            </a:lvl3pPr>
            <a:lvl4pPr marL="690563" indent="-233363">
              <a:buClr>
                <a:schemeClr val="bg1"/>
              </a:buClr>
              <a:defRPr sz="1200">
                <a:solidFill>
                  <a:schemeClr val="bg1"/>
                </a:solidFill>
              </a:defRPr>
            </a:lvl4pPr>
            <a:lvl5pPr marL="914400" indent="-223838">
              <a:buClr>
                <a:schemeClr val="bg1"/>
              </a:buCl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8"/>
          </p:nvPr>
        </p:nvSpPr>
        <p:spPr>
          <a:xfrm>
            <a:off x="6071235" y="1206500"/>
            <a:ext cx="2736850" cy="4357688"/>
          </a:xfrm>
        </p:spPr>
        <p:txBody>
          <a:bodyPr/>
          <a:lstStyle>
            <a:lvl1pPr marL="0" indent="0">
              <a:spcBef>
                <a:spcPts val="0"/>
              </a:spcBef>
              <a:spcAft>
                <a:spcPts val="600"/>
              </a:spcAft>
              <a:buClr>
                <a:schemeClr val="bg1"/>
              </a:buClr>
              <a:buFont typeface="Arial" panose="020B0604020202020204" pitchFamily="34" charset="0"/>
              <a:buChar char="​"/>
              <a:defRPr sz="1600" b="1">
                <a:solidFill>
                  <a:schemeClr val="bg1"/>
                </a:solidFill>
              </a:defRPr>
            </a:lvl1pPr>
            <a:lvl2pPr marL="233363" indent="-233363">
              <a:buClr>
                <a:schemeClr val="bg1"/>
              </a:buClr>
              <a:defRPr sz="1400">
                <a:solidFill>
                  <a:schemeClr val="bg1"/>
                </a:solidFill>
              </a:defRPr>
            </a:lvl2pPr>
            <a:lvl3pPr marL="457200" indent="-223838">
              <a:buClr>
                <a:schemeClr val="bg1"/>
              </a:buClr>
              <a:defRPr sz="1400">
                <a:solidFill>
                  <a:schemeClr val="bg1"/>
                </a:solidFill>
              </a:defRPr>
            </a:lvl3pPr>
            <a:lvl4pPr marL="690563" indent="-233363">
              <a:buClr>
                <a:schemeClr val="bg1"/>
              </a:buClr>
              <a:defRPr sz="1200">
                <a:solidFill>
                  <a:schemeClr val="bg1"/>
                </a:solidFill>
              </a:defRPr>
            </a:lvl4pPr>
            <a:lvl5pPr marL="914400" indent="-223838">
              <a:buClr>
                <a:schemeClr val="bg1"/>
              </a:buCl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3534720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0E80F-130D-468B-BAD3-C8E432A5319C}"/>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30BA8805-9E62-4EF0-A79D-890D4CAB2F94}"/>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906A5AE5-BBDF-4244-B7A8-F04E82F58669}"/>
              </a:ext>
            </a:extLst>
          </p:cNvPr>
          <p:cNvSpPr>
            <a:spLocks noGrp="1"/>
          </p:cNvSpPr>
          <p:nvPr>
            <p:ph type="dt" sz="half" idx="10"/>
          </p:nvPr>
        </p:nvSpPr>
        <p:spPr/>
        <p:txBody>
          <a:bodyPr/>
          <a:lstStyle/>
          <a:p>
            <a:pPr>
              <a:defRPr/>
            </a:pPr>
            <a:endParaRPr lang="en-US" dirty="0">
              <a:solidFill>
                <a:srgbClr val="38454F"/>
              </a:solidFill>
            </a:endParaRPr>
          </a:p>
        </p:txBody>
      </p:sp>
      <p:sp>
        <p:nvSpPr>
          <p:cNvPr id="5" name="Footer Placeholder 4">
            <a:extLst>
              <a:ext uri="{FF2B5EF4-FFF2-40B4-BE49-F238E27FC236}">
                <a16:creationId xmlns:a16="http://schemas.microsoft.com/office/drawing/2014/main" id="{C5A22E08-20BA-4D45-BF79-F49F8E87FC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5ED2DE-31C4-4AA5-9DCD-8AC81E92D2F6}"/>
              </a:ext>
            </a:extLst>
          </p:cNvPr>
          <p:cNvSpPr>
            <a:spLocks noGrp="1"/>
          </p:cNvSpPr>
          <p:nvPr>
            <p:ph type="sldNum" sz="quarter" idx="12"/>
          </p:nvPr>
        </p:nvSpPr>
        <p:spPr/>
        <p:txBody>
          <a:bodyPr/>
          <a:lstStyle/>
          <a:p>
            <a:pPr>
              <a:defRPr/>
            </a:pPr>
            <a:fld id="{91D03FF3-2B9E-4617-A592-48F56EC63E6E}" type="slidenum">
              <a:rPr lang="en-US" smtClean="0">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3041699876"/>
      </p:ext>
    </p:extLst>
  </p:cSld>
  <p:clrMapOvr>
    <a:masterClrMapping/>
  </p:clrMapOvr>
  <p:hf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58518-06C5-4977-86BA-11B7BFE4F6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5D58DA-032B-4555-8A14-B5F6C665A03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9C003F-6937-4BE6-AC5A-8018F01929EC}"/>
              </a:ext>
            </a:extLst>
          </p:cNvPr>
          <p:cNvSpPr>
            <a:spLocks noGrp="1"/>
          </p:cNvSpPr>
          <p:nvPr>
            <p:ph type="dt" sz="half" idx="10"/>
          </p:nvPr>
        </p:nvSpPr>
        <p:spPr/>
        <p:txBody>
          <a:bodyPr/>
          <a:lstStyle/>
          <a:p>
            <a:pPr>
              <a:defRPr/>
            </a:pPr>
            <a:endParaRPr lang="en-US" dirty="0">
              <a:solidFill>
                <a:srgbClr val="38454F"/>
              </a:solidFill>
            </a:endParaRPr>
          </a:p>
        </p:txBody>
      </p:sp>
      <p:sp>
        <p:nvSpPr>
          <p:cNvPr id="5" name="Footer Placeholder 4">
            <a:extLst>
              <a:ext uri="{FF2B5EF4-FFF2-40B4-BE49-F238E27FC236}">
                <a16:creationId xmlns:a16="http://schemas.microsoft.com/office/drawing/2014/main" id="{33D81C98-AF42-45CF-AAD5-1392410936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840AF2-E4BA-4BB5-952E-EE7C6548656D}"/>
              </a:ext>
            </a:extLst>
          </p:cNvPr>
          <p:cNvSpPr>
            <a:spLocks noGrp="1"/>
          </p:cNvSpPr>
          <p:nvPr>
            <p:ph type="sldNum" sz="quarter" idx="12"/>
          </p:nvPr>
        </p:nvSpPr>
        <p:spPr/>
        <p:txBody>
          <a:bodyPr/>
          <a:lstStyle/>
          <a:p>
            <a:pPr>
              <a:defRPr/>
            </a:pPr>
            <a:fld id="{91D03FF3-2B9E-4617-A592-48F56EC63E6E}" type="slidenum">
              <a:rPr lang="en-US" smtClean="0">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3569604415"/>
      </p:ext>
    </p:extLst>
  </p:cSld>
  <p:clrMapOvr>
    <a:masterClrMapping/>
  </p:clrMapOvr>
  <p:hf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411BF-C70A-4F1E-B254-BEDFBC8E4B69}"/>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82BCF9AB-87E9-4B24-9F0E-DB0DC577744C}"/>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279FDD8-26DE-4C6F-89AF-1EF7DB4BFC7E}"/>
              </a:ext>
            </a:extLst>
          </p:cNvPr>
          <p:cNvSpPr>
            <a:spLocks noGrp="1"/>
          </p:cNvSpPr>
          <p:nvPr>
            <p:ph type="dt" sz="half" idx="10"/>
          </p:nvPr>
        </p:nvSpPr>
        <p:spPr/>
        <p:txBody>
          <a:bodyPr/>
          <a:lstStyle/>
          <a:p>
            <a:fld id="{709A237E-0CB0-4DF6-B364-978AEF632F36}" type="datetimeFigureOut">
              <a:rPr lang="en-US" smtClean="0"/>
              <a:t>2/8/2019</a:t>
            </a:fld>
            <a:endParaRPr lang="en-US"/>
          </a:p>
        </p:txBody>
      </p:sp>
      <p:sp>
        <p:nvSpPr>
          <p:cNvPr id="5" name="Footer Placeholder 4">
            <a:extLst>
              <a:ext uri="{FF2B5EF4-FFF2-40B4-BE49-F238E27FC236}">
                <a16:creationId xmlns:a16="http://schemas.microsoft.com/office/drawing/2014/main" id="{A54F2F5D-CABD-4FF0-B67B-967111766F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0F5DB9-CC99-414F-9DFC-61B53F4E947A}"/>
              </a:ext>
            </a:extLst>
          </p:cNvPr>
          <p:cNvSpPr>
            <a:spLocks noGrp="1"/>
          </p:cNvSpPr>
          <p:nvPr>
            <p:ph type="sldNum" sz="quarter" idx="12"/>
          </p:nvPr>
        </p:nvSpPr>
        <p:spPr/>
        <p:txBody>
          <a:bodyPr/>
          <a:lstStyle/>
          <a:p>
            <a:fld id="{EC9139A6-C196-401A-8382-0100C9EE86F9}" type="slidenum">
              <a:rPr lang="en-US" smtClean="0"/>
              <a:t>‹#›</a:t>
            </a:fld>
            <a:endParaRPr lang="en-US"/>
          </a:p>
        </p:txBody>
      </p:sp>
      <p:sp>
        <p:nvSpPr>
          <p:cNvPr id="7" name="Freeform 6">
            <a:extLst>
              <a:ext uri="{FF2B5EF4-FFF2-40B4-BE49-F238E27FC236}">
                <a16:creationId xmlns:a16="http://schemas.microsoft.com/office/drawing/2014/main" id="{3A71D54A-BA1E-404B-A1C3-B5FD780D9136}"/>
              </a:ext>
            </a:extLst>
          </p:cNvPr>
          <p:cNvSpPr>
            <a:spLocks/>
          </p:cNvSpPr>
          <p:nvPr userDrawn="1"/>
        </p:nvSpPr>
        <p:spPr bwMode="auto">
          <a:xfrm>
            <a:off x="3425840" y="0"/>
            <a:ext cx="5733420" cy="6858000"/>
          </a:xfrm>
          <a:custGeom>
            <a:avLst/>
            <a:gdLst/>
            <a:ahLst/>
            <a:cxnLst/>
            <a:rect l="l" t="t" r="r" b="b"/>
            <a:pathLst>
              <a:path w="5733420" h="6858000">
                <a:moveTo>
                  <a:pt x="0" y="0"/>
                </a:moveTo>
                <a:lnTo>
                  <a:pt x="634" y="0"/>
                </a:lnTo>
                <a:lnTo>
                  <a:pt x="5733420" y="0"/>
                </a:lnTo>
                <a:lnTo>
                  <a:pt x="5729588" y="6858000"/>
                </a:lnTo>
                <a:lnTo>
                  <a:pt x="3963034" y="685800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8" name="Object 7" hidden="1">
            <a:extLst>
              <a:ext uri="{FF2B5EF4-FFF2-40B4-BE49-F238E27FC236}">
                <a16:creationId xmlns:a16="http://schemas.microsoft.com/office/drawing/2014/main" id="{D8A89E6D-5282-4AC8-AA36-5E43FBD0B93B}"/>
              </a:ext>
            </a:extLst>
          </p:cNvPr>
          <p:cNvGraphicFramePr>
            <a:graphicFrameLocks noChangeAspect="1"/>
          </p:cNvGraphicFramePr>
          <p:nvPr userDrawn="1">
            <p:custDataLst>
              <p:tags r:id="rId2"/>
            </p:custDataLst>
            <p:extLst>
              <p:ext uri="{D42A27DB-BD31-4B8C-83A1-F6EECF244321}">
                <p14:modId xmlns:p14="http://schemas.microsoft.com/office/powerpoint/2010/main" val="4063564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2" name="think-cell Slide" r:id="rId4" imgW="270" imgH="270" progId="TCLayout.ActiveDocument.1">
                  <p:embed/>
                </p:oleObj>
              </mc:Choice>
              <mc:Fallback>
                <p:oleObj name="think-cell Slide" r:id="rId4" imgW="270" imgH="270" progId="TCLayout.ActiveDocument.1">
                  <p:embed/>
                  <p:pic>
                    <p:nvPicPr>
                      <p:cNvPr id="8" name="Object 7" hidden="1">
                        <a:extLst>
                          <a:ext uri="{FF2B5EF4-FFF2-40B4-BE49-F238E27FC236}">
                            <a16:creationId xmlns:a16="http://schemas.microsoft.com/office/drawing/2014/main" id="{4EB01073-1FC6-41EC-BA98-24B1B650922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Isosceles Triangle 18">
            <a:extLst>
              <a:ext uri="{FF2B5EF4-FFF2-40B4-BE49-F238E27FC236}">
                <a16:creationId xmlns:a16="http://schemas.microsoft.com/office/drawing/2014/main" id="{91E556AB-DCA7-4353-98F7-611AD638363E}"/>
              </a:ext>
            </a:extLst>
          </p:cNvPr>
          <p:cNvSpPr/>
          <p:nvPr userDrawn="1"/>
        </p:nvSpPr>
        <p:spPr bwMode="auto">
          <a:xfrm>
            <a:off x="7496175" y="3993931"/>
            <a:ext cx="1661161" cy="2864069"/>
          </a:xfrm>
          <a:custGeom>
            <a:avLst/>
            <a:gdLst/>
            <a:ahLst/>
            <a:cxnLst/>
            <a:rect l="l" t="t" r="r" b="b"/>
            <a:pathLst>
              <a:path w="1661161" h="2864069">
                <a:moveTo>
                  <a:pt x="1661161" y="0"/>
                </a:moveTo>
                <a:lnTo>
                  <a:pt x="1661161" y="2864069"/>
                </a:lnTo>
                <a:lnTo>
                  <a:pt x="0" y="2864069"/>
                </a:lnTo>
                <a:close/>
              </a:path>
            </a:pathLst>
          </a:custGeom>
          <a:solidFill>
            <a:schemeClr val="accent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10" name="Freeform 6">
            <a:extLst>
              <a:ext uri="{FF2B5EF4-FFF2-40B4-BE49-F238E27FC236}">
                <a16:creationId xmlns:a16="http://schemas.microsoft.com/office/drawing/2014/main" id="{39EF391D-CCB3-434B-995B-2A7818995267}"/>
              </a:ext>
            </a:extLst>
          </p:cNvPr>
          <p:cNvSpPr>
            <a:spLocks/>
          </p:cNvSpPr>
          <p:nvPr userDrawn="1"/>
        </p:nvSpPr>
        <p:spPr bwMode="auto">
          <a:xfrm>
            <a:off x="4879047" y="0"/>
            <a:ext cx="4280213" cy="5697264"/>
          </a:xfrm>
          <a:custGeom>
            <a:avLst/>
            <a:gdLst/>
            <a:ahLst/>
            <a:cxnLst/>
            <a:rect l="l" t="t" r="r" b="b"/>
            <a:pathLst>
              <a:path w="4280213" h="5697264">
                <a:moveTo>
                  <a:pt x="0" y="0"/>
                </a:moveTo>
                <a:lnTo>
                  <a:pt x="634" y="0"/>
                </a:lnTo>
                <a:lnTo>
                  <a:pt x="4280213" y="0"/>
                </a:lnTo>
                <a:lnTo>
                  <a:pt x="4280213" y="3993931"/>
                </a:lnTo>
                <a:lnTo>
                  <a:pt x="3292279" y="569726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1" name="Isosceles Triangle 10">
            <a:extLst>
              <a:ext uri="{FF2B5EF4-FFF2-40B4-BE49-F238E27FC236}">
                <a16:creationId xmlns:a16="http://schemas.microsoft.com/office/drawing/2014/main" id="{24D01238-454A-4BA4-BB7F-4FD2D2080499}"/>
              </a:ext>
            </a:extLst>
          </p:cNvPr>
          <p:cNvSpPr/>
          <p:nvPr userDrawn="1"/>
        </p:nvSpPr>
        <p:spPr bwMode="auto">
          <a:xfrm>
            <a:off x="7496175" y="5696782"/>
            <a:ext cx="1347013" cy="1161218"/>
          </a:xfrm>
          <a:prstGeom prst="triangle">
            <a:avLst/>
          </a:pr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pSp>
        <p:nvGrpSpPr>
          <p:cNvPr id="12" name="Group 11">
            <a:extLst>
              <a:ext uri="{FF2B5EF4-FFF2-40B4-BE49-F238E27FC236}">
                <a16:creationId xmlns:a16="http://schemas.microsoft.com/office/drawing/2014/main" id="{3FF84223-53EA-450A-87EF-67C54D4C557A}"/>
              </a:ext>
            </a:extLst>
          </p:cNvPr>
          <p:cNvGrpSpPr>
            <a:grpSpLocks noChangeAspect="1"/>
          </p:cNvGrpSpPr>
          <p:nvPr userDrawn="1"/>
        </p:nvGrpSpPr>
        <p:grpSpPr>
          <a:xfrm>
            <a:off x="374651" y="6431112"/>
            <a:ext cx="1673352" cy="328463"/>
            <a:chOff x="374651" y="6029325"/>
            <a:chExt cx="2054224" cy="403225"/>
          </a:xfrm>
        </p:grpSpPr>
        <p:sp>
          <p:nvSpPr>
            <p:cNvPr id="13" name="Freeform 21">
              <a:extLst>
                <a:ext uri="{FF2B5EF4-FFF2-40B4-BE49-F238E27FC236}">
                  <a16:creationId xmlns:a16="http://schemas.microsoft.com/office/drawing/2014/main" id="{C186A7D0-B276-45EA-89B4-20C98E57B93A}"/>
                </a:ext>
              </a:extLst>
            </p:cNvPr>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4" name="AutoShape 6">
              <a:extLst>
                <a:ext uri="{FF2B5EF4-FFF2-40B4-BE49-F238E27FC236}">
                  <a16:creationId xmlns:a16="http://schemas.microsoft.com/office/drawing/2014/main" id="{9053709F-A643-4EA9-B13B-F6065F7E9E01}"/>
                </a:ext>
              </a:extLst>
            </p:cNvPr>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5" name="Freeform 15">
              <a:extLst>
                <a:ext uri="{FF2B5EF4-FFF2-40B4-BE49-F238E27FC236}">
                  <a16:creationId xmlns:a16="http://schemas.microsoft.com/office/drawing/2014/main" id="{DB3DE921-AA2F-44C0-B482-E6A16AA5F2CE}"/>
                </a:ext>
              </a:extLst>
            </p:cNvPr>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6" name="Freeform 16">
              <a:extLst>
                <a:ext uri="{FF2B5EF4-FFF2-40B4-BE49-F238E27FC236}">
                  <a16:creationId xmlns:a16="http://schemas.microsoft.com/office/drawing/2014/main" id="{AEA931BC-13F7-4EE3-9477-B86E03E6B12B}"/>
                </a:ext>
              </a:extLst>
            </p:cNvPr>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7" name="Freeform 17">
              <a:extLst>
                <a:ext uri="{FF2B5EF4-FFF2-40B4-BE49-F238E27FC236}">
                  <a16:creationId xmlns:a16="http://schemas.microsoft.com/office/drawing/2014/main" id="{6528D06F-0F07-419A-904E-5BDA958C5E64}"/>
                </a:ext>
              </a:extLst>
            </p:cNvPr>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8" name="Freeform 19">
              <a:extLst>
                <a:ext uri="{FF2B5EF4-FFF2-40B4-BE49-F238E27FC236}">
                  <a16:creationId xmlns:a16="http://schemas.microsoft.com/office/drawing/2014/main" id="{A9BC3EF8-FCA8-4BA1-A5F4-E3C14B32BF4C}"/>
                </a:ext>
              </a:extLst>
            </p:cNvPr>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9" name="Freeform 21">
              <a:extLst>
                <a:ext uri="{FF2B5EF4-FFF2-40B4-BE49-F238E27FC236}">
                  <a16:creationId xmlns:a16="http://schemas.microsoft.com/office/drawing/2014/main" id="{B77595FD-3C30-48C9-8A0A-B09D184EE8FF}"/>
                </a:ext>
              </a:extLst>
            </p:cNvPr>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0" name="Freeform 22">
              <a:extLst>
                <a:ext uri="{FF2B5EF4-FFF2-40B4-BE49-F238E27FC236}">
                  <a16:creationId xmlns:a16="http://schemas.microsoft.com/office/drawing/2014/main" id="{6C72F63F-2ACF-41E8-A68C-9E27932FD4CE}"/>
                </a:ext>
              </a:extLst>
            </p:cNvPr>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1" name="Freeform 14">
              <a:extLst>
                <a:ext uri="{FF2B5EF4-FFF2-40B4-BE49-F238E27FC236}">
                  <a16:creationId xmlns:a16="http://schemas.microsoft.com/office/drawing/2014/main" id="{C98B78B4-7750-44D7-82CA-3B4027807CA4}"/>
                </a:ext>
              </a:extLst>
            </p:cNvPr>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2" name="Freeform 15">
              <a:extLst>
                <a:ext uri="{FF2B5EF4-FFF2-40B4-BE49-F238E27FC236}">
                  <a16:creationId xmlns:a16="http://schemas.microsoft.com/office/drawing/2014/main" id="{839FE4B7-9AD7-47ED-B575-B6E2BB69A86B}"/>
                </a:ext>
              </a:extLst>
            </p:cNvPr>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3" name="Rectangle 16">
              <a:extLst>
                <a:ext uri="{FF2B5EF4-FFF2-40B4-BE49-F238E27FC236}">
                  <a16:creationId xmlns:a16="http://schemas.microsoft.com/office/drawing/2014/main" id="{C4761253-387C-4F2F-8A73-A808F6AC3C39}"/>
                </a:ext>
              </a:extLst>
            </p:cNvPr>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4" name="Oval 17">
              <a:extLst>
                <a:ext uri="{FF2B5EF4-FFF2-40B4-BE49-F238E27FC236}">
                  <a16:creationId xmlns:a16="http://schemas.microsoft.com/office/drawing/2014/main" id="{BDC9F39D-42E9-48B0-84ED-495CE740A4D5}"/>
                </a:ext>
              </a:extLst>
            </p:cNvPr>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5" name="Rectangle 18">
              <a:extLst>
                <a:ext uri="{FF2B5EF4-FFF2-40B4-BE49-F238E27FC236}">
                  <a16:creationId xmlns:a16="http://schemas.microsoft.com/office/drawing/2014/main" id="{0FF13FC8-677A-4E93-A56E-AA0D0A808321}"/>
                </a:ext>
              </a:extLst>
            </p:cNvPr>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6" name="Oval 19">
              <a:extLst>
                <a:ext uri="{FF2B5EF4-FFF2-40B4-BE49-F238E27FC236}">
                  <a16:creationId xmlns:a16="http://schemas.microsoft.com/office/drawing/2014/main" id="{FCC8F534-02C5-459F-BDC7-7A2849CB7C87}"/>
                </a:ext>
              </a:extLst>
            </p:cNvPr>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7" name="Freeform 23">
              <a:extLst>
                <a:ext uri="{FF2B5EF4-FFF2-40B4-BE49-F238E27FC236}">
                  <a16:creationId xmlns:a16="http://schemas.microsoft.com/office/drawing/2014/main" id="{FA41BC98-BD65-41F0-BF5B-DE55EB012D9C}"/>
                </a:ext>
              </a:extLst>
            </p:cNvPr>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8" name="Freeform 24">
              <a:extLst>
                <a:ext uri="{FF2B5EF4-FFF2-40B4-BE49-F238E27FC236}">
                  <a16:creationId xmlns:a16="http://schemas.microsoft.com/office/drawing/2014/main" id="{6A13D559-8903-4410-8646-409C0DFDE64D}"/>
                </a:ext>
              </a:extLst>
            </p:cNvPr>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9" name="Freeform 21">
              <a:extLst>
                <a:ext uri="{FF2B5EF4-FFF2-40B4-BE49-F238E27FC236}">
                  <a16:creationId xmlns:a16="http://schemas.microsoft.com/office/drawing/2014/main" id="{37FDECAE-2DD1-42C2-B284-48B30336FAC3}"/>
                </a:ext>
              </a:extLst>
            </p:cNvPr>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1400452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6924F-6BD2-4B71-A643-CA7D17157B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79467A-C717-4015-9909-BF7D944DE881}"/>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D89EE8C-8EA4-45A5-919A-DDAD56283DD3}"/>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F9F2A6D-E474-4A83-8CFB-8070EB51C0F1}"/>
              </a:ext>
            </a:extLst>
          </p:cNvPr>
          <p:cNvSpPr>
            <a:spLocks noGrp="1"/>
          </p:cNvSpPr>
          <p:nvPr>
            <p:ph type="dt" sz="half" idx="10"/>
          </p:nvPr>
        </p:nvSpPr>
        <p:spPr/>
        <p:txBody>
          <a:bodyPr/>
          <a:lstStyle/>
          <a:p>
            <a:pPr>
              <a:defRPr/>
            </a:pPr>
            <a:endParaRPr lang="en-US" dirty="0">
              <a:solidFill>
                <a:srgbClr val="38454F"/>
              </a:solidFill>
            </a:endParaRPr>
          </a:p>
        </p:txBody>
      </p:sp>
      <p:sp>
        <p:nvSpPr>
          <p:cNvPr id="6" name="Footer Placeholder 5">
            <a:extLst>
              <a:ext uri="{FF2B5EF4-FFF2-40B4-BE49-F238E27FC236}">
                <a16:creationId xmlns:a16="http://schemas.microsoft.com/office/drawing/2014/main" id="{6281088B-149B-4B42-8B38-BEDB59F1A0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603D772-895E-4A02-984E-BF9A0DE4E3F5}"/>
              </a:ext>
            </a:extLst>
          </p:cNvPr>
          <p:cNvSpPr>
            <a:spLocks noGrp="1"/>
          </p:cNvSpPr>
          <p:nvPr>
            <p:ph type="sldNum" sz="quarter" idx="12"/>
          </p:nvPr>
        </p:nvSpPr>
        <p:spPr/>
        <p:txBody>
          <a:bodyPr/>
          <a:lstStyle/>
          <a:p>
            <a:pPr>
              <a:defRPr/>
            </a:pPr>
            <a:fld id="{91D03FF3-2B9E-4617-A592-48F56EC63E6E}" type="slidenum">
              <a:rPr lang="en-US" smtClean="0">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1539747119"/>
      </p:ext>
    </p:extLst>
  </p:cSld>
  <p:clrMapOvr>
    <a:masterClrMapping/>
  </p:clrMapOvr>
  <p:hf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F1631-14ED-4CF1-9139-A39EB80A13D3}"/>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A385A99-0480-48D0-A086-C44D02FCD461}"/>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865A6806-6FD3-4B8A-9DA5-49B97F34C0C8}"/>
              </a:ext>
            </a:extLst>
          </p:cNvPr>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533EF17-E1A2-4DC9-88BB-9C089560A460}"/>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044CB9EC-FE78-46C2-9152-8189FCC9F895}"/>
              </a:ext>
            </a:extLst>
          </p:cNvPr>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0827B90-60B2-4990-98F4-57C5B1FCD003}"/>
              </a:ext>
            </a:extLst>
          </p:cNvPr>
          <p:cNvSpPr>
            <a:spLocks noGrp="1"/>
          </p:cNvSpPr>
          <p:nvPr>
            <p:ph type="dt" sz="half" idx="10"/>
          </p:nvPr>
        </p:nvSpPr>
        <p:spPr/>
        <p:txBody>
          <a:bodyPr/>
          <a:lstStyle/>
          <a:p>
            <a:pPr>
              <a:defRPr/>
            </a:pPr>
            <a:endParaRPr lang="en-US" dirty="0">
              <a:solidFill>
                <a:srgbClr val="38454F"/>
              </a:solidFill>
            </a:endParaRPr>
          </a:p>
        </p:txBody>
      </p:sp>
      <p:sp>
        <p:nvSpPr>
          <p:cNvPr id="8" name="Footer Placeholder 7">
            <a:extLst>
              <a:ext uri="{FF2B5EF4-FFF2-40B4-BE49-F238E27FC236}">
                <a16:creationId xmlns:a16="http://schemas.microsoft.com/office/drawing/2014/main" id="{B4414DFE-844B-46A0-87A6-0AE813179CB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1961BEE-6E36-4549-9EFD-3E9E26C9E241}"/>
              </a:ext>
            </a:extLst>
          </p:cNvPr>
          <p:cNvSpPr>
            <a:spLocks noGrp="1"/>
          </p:cNvSpPr>
          <p:nvPr>
            <p:ph type="sldNum" sz="quarter" idx="12"/>
          </p:nvPr>
        </p:nvSpPr>
        <p:spPr/>
        <p:txBody>
          <a:bodyPr/>
          <a:lstStyle/>
          <a:p>
            <a:pPr>
              <a:defRPr/>
            </a:pPr>
            <a:fld id="{91D03FF3-2B9E-4617-A592-48F56EC63E6E}" type="slidenum">
              <a:rPr lang="en-US" smtClean="0">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2162087651"/>
      </p:ext>
    </p:extLst>
  </p:cSld>
  <p:clrMapOvr>
    <a:masterClrMapping/>
  </p:clrMapOvr>
  <p:hf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1ACDF-47F9-4D14-88E0-29E4CA1D645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AE924D1-A924-4BC9-999F-CE28850B2A2E}"/>
              </a:ext>
            </a:extLst>
          </p:cNvPr>
          <p:cNvSpPr>
            <a:spLocks noGrp="1"/>
          </p:cNvSpPr>
          <p:nvPr>
            <p:ph type="dt" sz="half" idx="10"/>
          </p:nvPr>
        </p:nvSpPr>
        <p:spPr/>
        <p:txBody>
          <a:bodyPr/>
          <a:lstStyle/>
          <a:p>
            <a:pPr>
              <a:defRPr/>
            </a:pPr>
            <a:endParaRPr lang="en-US" dirty="0">
              <a:solidFill>
                <a:srgbClr val="38454F"/>
              </a:solidFill>
            </a:endParaRPr>
          </a:p>
        </p:txBody>
      </p:sp>
      <p:sp>
        <p:nvSpPr>
          <p:cNvPr id="4" name="Footer Placeholder 3">
            <a:extLst>
              <a:ext uri="{FF2B5EF4-FFF2-40B4-BE49-F238E27FC236}">
                <a16:creationId xmlns:a16="http://schemas.microsoft.com/office/drawing/2014/main" id="{AAC3892D-121B-4F2D-B66E-DCD1FECB8A8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CA920C7-A150-4526-975C-D4826F49A96F}"/>
              </a:ext>
            </a:extLst>
          </p:cNvPr>
          <p:cNvSpPr>
            <a:spLocks noGrp="1"/>
          </p:cNvSpPr>
          <p:nvPr>
            <p:ph type="sldNum" sz="quarter" idx="12"/>
          </p:nvPr>
        </p:nvSpPr>
        <p:spPr/>
        <p:txBody>
          <a:bodyPr/>
          <a:lstStyle/>
          <a:p>
            <a:pPr>
              <a:defRPr/>
            </a:pPr>
            <a:fld id="{91D03FF3-2B9E-4617-A592-48F56EC63E6E}" type="slidenum">
              <a:rPr lang="en-US" smtClean="0">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612756302"/>
      </p:ext>
    </p:extLst>
  </p:cSld>
  <p:clrMapOvr>
    <a:masterClrMapping/>
  </p:clrMapOvr>
  <p:hf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A73737F-6D3A-4854-828E-462127F871B4}"/>
              </a:ext>
            </a:extLst>
          </p:cNvPr>
          <p:cNvSpPr>
            <a:spLocks noGrp="1"/>
          </p:cNvSpPr>
          <p:nvPr>
            <p:ph type="dt" sz="half" idx="10"/>
          </p:nvPr>
        </p:nvSpPr>
        <p:spPr/>
        <p:txBody>
          <a:bodyPr/>
          <a:lstStyle/>
          <a:p>
            <a:fld id="{709A237E-0CB0-4DF6-B364-978AEF632F36}" type="datetimeFigureOut">
              <a:rPr lang="en-US" smtClean="0"/>
              <a:t>2/8/2019</a:t>
            </a:fld>
            <a:endParaRPr lang="en-US"/>
          </a:p>
        </p:txBody>
      </p:sp>
      <p:sp>
        <p:nvSpPr>
          <p:cNvPr id="3" name="Footer Placeholder 2">
            <a:extLst>
              <a:ext uri="{FF2B5EF4-FFF2-40B4-BE49-F238E27FC236}">
                <a16:creationId xmlns:a16="http://schemas.microsoft.com/office/drawing/2014/main" id="{BEFF874B-9E82-47C8-992A-9858D2D65E0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092413D-1BFA-4FC2-949B-6ECCF0CF98A5}"/>
              </a:ext>
            </a:extLst>
          </p:cNvPr>
          <p:cNvSpPr>
            <a:spLocks noGrp="1"/>
          </p:cNvSpPr>
          <p:nvPr>
            <p:ph type="sldNum" sz="quarter" idx="12"/>
          </p:nvPr>
        </p:nvSpPr>
        <p:spPr/>
        <p:txBody>
          <a:bodyPr/>
          <a:lstStyle/>
          <a:p>
            <a:pPr>
              <a:defRPr/>
            </a:pPr>
            <a:fld id="{0EE25AFF-DC43-4D65-915F-22B9B4081F3B}" type="slidenum">
              <a:rPr lang="en-US" smtClean="0">
                <a:solidFill>
                  <a:srgbClr val="4D4D4F"/>
                </a:solidFill>
              </a:rPr>
              <a:pPr>
                <a:defRPr/>
              </a:pPr>
              <a:t>‹#›</a:t>
            </a:fld>
            <a:endParaRPr lang="en-US" dirty="0">
              <a:solidFill>
                <a:srgbClr val="4D4D4F"/>
              </a:solidFill>
            </a:endParaRPr>
          </a:p>
        </p:txBody>
      </p:sp>
    </p:spTree>
    <p:extLst>
      <p:ext uri="{BB962C8B-B14F-4D97-AF65-F5344CB8AC3E}">
        <p14:creationId xmlns:p14="http://schemas.microsoft.com/office/powerpoint/2010/main" val="324928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FEDEC-D2F9-47A0-9FF8-572BAFF7560F}"/>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A13F9F03-9ACB-460D-994B-65DD9B2D88E3}"/>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058DB17-F3EA-4453-96B5-6B07B445A1AB}"/>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8A5A5886-F0B2-4AAD-B954-8977D19264A2}"/>
              </a:ext>
            </a:extLst>
          </p:cNvPr>
          <p:cNvSpPr>
            <a:spLocks noGrp="1"/>
          </p:cNvSpPr>
          <p:nvPr>
            <p:ph type="dt" sz="half" idx="10"/>
          </p:nvPr>
        </p:nvSpPr>
        <p:spPr/>
        <p:txBody>
          <a:bodyPr/>
          <a:lstStyle/>
          <a:p>
            <a:pPr>
              <a:defRPr/>
            </a:pPr>
            <a:endParaRPr lang="en-US" dirty="0">
              <a:solidFill>
                <a:srgbClr val="38454F"/>
              </a:solidFill>
            </a:endParaRPr>
          </a:p>
        </p:txBody>
      </p:sp>
      <p:sp>
        <p:nvSpPr>
          <p:cNvPr id="6" name="Footer Placeholder 5">
            <a:extLst>
              <a:ext uri="{FF2B5EF4-FFF2-40B4-BE49-F238E27FC236}">
                <a16:creationId xmlns:a16="http://schemas.microsoft.com/office/drawing/2014/main" id="{CCF56DB3-FAA1-4011-BAAA-47DB87A13FB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FBE9A5-79C2-4ABC-9AED-FCB5D0FE5163}"/>
              </a:ext>
            </a:extLst>
          </p:cNvPr>
          <p:cNvSpPr>
            <a:spLocks noGrp="1"/>
          </p:cNvSpPr>
          <p:nvPr>
            <p:ph type="sldNum" sz="quarter" idx="12"/>
          </p:nvPr>
        </p:nvSpPr>
        <p:spPr/>
        <p:txBody>
          <a:bodyPr/>
          <a:lstStyle/>
          <a:p>
            <a:pPr>
              <a:defRPr/>
            </a:pPr>
            <a:fld id="{91D03FF3-2B9E-4617-A592-48F56EC63E6E}" type="slidenum">
              <a:rPr lang="en-US" smtClean="0">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1915217526"/>
      </p:ext>
    </p:extLst>
  </p:cSld>
  <p:clrMapOvr>
    <a:masterClrMapping/>
  </p:clrMapOvr>
  <p:hf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917E31-2A31-4DAB-82AF-0DADB18F237F}"/>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5E5330D7-1585-473B-9981-0761E065A167}"/>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C04A4062-DA1D-429C-9DA0-9B71C63B1C41}"/>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397FF888-94D7-4E89-B279-DBA0C1EDE721}"/>
              </a:ext>
            </a:extLst>
          </p:cNvPr>
          <p:cNvSpPr>
            <a:spLocks noGrp="1"/>
          </p:cNvSpPr>
          <p:nvPr>
            <p:ph type="dt" sz="half" idx="10"/>
          </p:nvPr>
        </p:nvSpPr>
        <p:spPr/>
        <p:txBody>
          <a:bodyPr/>
          <a:lstStyle/>
          <a:p>
            <a:pPr>
              <a:defRPr/>
            </a:pPr>
            <a:endParaRPr lang="en-US" dirty="0">
              <a:solidFill>
                <a:srgbClr val="38454F"/>
              </a:solidFill>
            </a:endParaRPr>
          </a:p>
        </p:txBody>
      </p:sp>
      <p:sp>
        <p:nvSpPr>
          <p:cNvPr id="6" name="Footer Placeholder 5">
            <a:extLst>
              <a:ext uri="{FF2B5EF4-FFF2-40B4-BE49-F238E27FC236}">
                <a16:creationId xmlns:a16="http://schemas.microsoft.com/office/drawing/2014/main" id="{A3B8BA65-0F7B-459A-BD7E-24CC3B22A9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661491-6F20-4C98-87F2-A67B43E0B5E4}"/>
              </a:ext>
            </a:extLst>
          </p:cNvPr>
          <p:cNvSpPr>
            <a:spLocks noGrp="1"/>
          </p:cNvSpPr>
          <p:nvPr>
            <p:ph type="sldNum" sz="quarter" idx="12"/>
          </p:nvPr>
        </p:nvSpPr>
        <p:spPr/>
        <p:txBody>
          <a:bodyPr/>
          <a:lstStyle/>
          <a:p>
            <a:pPr>
              <a:defRPr/>
            </a:pPr>
            <a:fld id="{91D03FF3-2B9E-4617-A592-48F56EC63E6E}" type="slidenum">
              <a:rPr lang="en-US" smtClean="0">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121003535"/>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Arrow 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893767"/>
            <a:ext cx="6158232" cy="1737360"/>
          </a:xfrm>
        </p:spPr>
        <p:txBody>
          <a:bodyPr vert="horz" lIns="0" tIns="0" rIns="0" bIns="0" rtlCol="0">
            <a:noAutofit/>
          </a:bodyPr>
          <a:lstStyle>
            <a:lvl1pPr>
              <a:defRPr lang="en-US" sz="1600" noProof="0" dirty="0" smtClean="0">
                <a:solidFill>
                  <a:schemeClr val="tx1"/>
                </a:solidFill>
              </a:defRPr>
            </a:lvl1pPr>
            <a:lvl2pPr>
              <a:defRPr lang="en-US" sz="1400" noProof="0" dirty="0" smtClean="0"/>
            </a:lvl2pPr>
            <a:lvl3pPr>
              <a:defRPr lang="en-US" sz="1400" noProof="0" dirty="0" smtClean="0"/>
            </a:lvl3pPr>
            <a:lvl4pPr>
              <a:defRPr lang="en-US" noProof="0" dirty="0" smtClean="0"/>
            </a:lvl4pPr>
            <a:lvl5pPr>
              <a:defRPr lang="en-US"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noProof="0"/>
              <a:pPr>
                <a:defRPr/>
              </a:pPr>
              <a:t>‹#›</a:t>
            </a:fld>
            <a:endParaRPr lang="en-US" noProof="0" dirty="0"/>
          </a:p>
        </p:txBody>
      </p:sp>
      <p:sp>
        <p:nvSpPr>
          <p:cNvPr id="7" name="Content Placeholder 6"/>
          <p:cNvSpPr>
            <a:spLocks noGrp="1"/>
          </p:cNvSpPr>
          <p:nvPr>
            <p:ph sz="quarter" idx="16"/>
          </p:nvPr>
        </p:nvSpPr>
        <p:spPr>
          <a:xfrm>
            <a:off x="2622231" y="4035305"/>
            <a:ext cx="6158232" cy="1737360"/>
          </a:xfrm>
        </p:spPr>
        <p:txBody>
          <a:bodyPr vert="horz" lIns="0" tIns="0" rIns="0" bIns="0" rtlCol="0">
            <a:noAutofit/>
          </a:bodyPr>
          <a:lstStyle>
            <a:lvl1pPr>
              <a:defRPr lang="en-US" sz="1600" dirty="0" smtClean="0">
                <a:solidFill>
                  <a:schemeClr val="tx1"/>
                </a:solidFill>
              </a:defRPr>
            </a:lvl1pPr>
            <a:lvl2pPr>
              <a:defRPr lang="en-US" sz="1400" dirty="0" smtClean="0"/>
            </a:lvl2pPr>
            <a:lvl3pPr>
              <a:defRPr lang="en-US" sz="1400"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893767"/>
            <a:ext cx="2102167" cy="173736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4035305"/>
            <a:ext cx="2102167" cy="173736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503831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ADA1F-449E-4DB0-933F-D7037D901C4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9D4C20D-C5B0-4EC5-BC63-FA0EA0308E4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D3B1C2-B81A-41A0-B3AA-83F172BFAB80}"/>
              </a:ext>
            </a:extLst>
          </p:cNvPr>
          <p:cNvSpPr>
            <a:spLocks noGrp="1"/>
          </p:cNvSpPr>
          <p:nvPr>
            <p:ph type="dt" sz="half" idx="10"/>
          </p:nvPr>
        </p:nvSpPr>
        <p:spPr/>
        <p:txBody>
          <a:bodyPr/>
          <a:lstStyle/>
          <a:p>
            <a:pPr>
              <a:defRPr/>
            </a:pPr>
            <a:endParaRPr lang="en-US" dirty="0">
              <a:solidFill>
                <a:srgbClr val="38454F"/>
              </a:solidFill>
            </a:endParaRPr>
          </a:p>
        </p:txBody>
      </p:sp>
      <p:sp>
        <p:nvSpPr>
          <p:cNvPr id="5" name="Footer Placeholder 4">
            <a:extLst>
              <a:ext uri="{FF2B5EF4-FFF2-40B4-BE49-F238E27FC236}">
                <a16:creationId xmlns:a16="http://schemas.microsoft.com/office/drawing/2014/main" id="{9D98D948-0EBB-407F-B3FF-A20A2407BF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F86CDB-34E9-43C3-BA7B-8182BC840085}"/>
              </a:ext>
            </a:extLst>
          </p:cNvPr>
          <p:cNvSpPr>
            <a:spLocks noGrp="1"/>
          </p:cNvSpPr>
          <p:nvPr>
            <p:ph type="sldNum" sz="quarter" idx="12"/>
          </p:nvPr>
        </p:nvSpPr>
        <p:spPr/>
        <p:txBody>
          <a:bodyPr/>
          <a:lstStyle/>
          <a:p>
            <a:pPr>
              <a:defRPr/>
            </a:pPr>
            <a:fld id="{91D03FF3-2B9E-4617-A592-48F56EC63E6E}" type="slidenum">
              <a:rPr lang="en-US" smtClean="0">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2429080751"/>
      </p:ext>
    </p:extLst>
  </p:cSld>
  <p:clrMapOvr>
    <a:masterClrMapping/>
  </p:clrMapOvr>
  <p:hf hdr="0" ftr="0" dt="0"/>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454253-05B9-4906-AA3E-0C69E749A086}"/>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8ED075E-EEA7-416D-8D2F-8DCAC7E81E95}"/>
              </a:ext>
            </a:extLst>
          </p:cNvPr>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8526A2-A6CC-4F6E-8D26-5D1AF90774BC}"/>
              </a:ext>
            </a:extLst>
          </p:cNvPr>
          <p:cNvSpPr>
            <a:spLocks noGrp="1"/>
          </p:cNvSpPr>
          <p:nvPr>
            <p:ph type="dt" sz="half" idx="10"/>
          </p:nvPr>
        </p:nvSpPr>
        <p:spPr/>
        <p:txBody>
          <a:bodyPr/>
          <a:lstStyle/>
          <a:p>
            <a:pPr>
              <a:defRPr/>
            </a:pPr>
            <a:endParaRPr lang="en-US" dirty="0">
              <a:solidFill>
                <a:srgbClr val="38454F"/>
              </a:solidFill>
            </a:endParaRPr>
          </a:p>
        </p:txBody>
      </p:sp>
      <p:sp>
        <p:nvSpPr>
          <p:cNvPr id="5" name="Footer Placeholder 4">
            <a:extLst>
              <a:ext uri="{FF2B5EF4-FFF2-40B4-BE49-F238E27FC236}">
                <a16:creationId xmlns:a16="http://schemas.microsoft.com/office/drawing/2014/main" id="{C3FED949-8902-492C-8601-FA17E392F3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3C1B32-1910-4EEF-979E-2B9143B2F044}"/>
              </a:ext>
            </a:extLst>
          </p:cNvPr>
          <p:cNvSpPr>
            <a:spLocks noGrp="1"/>
          </p:cNvSpPr>
          <p:nvPr>
            <p:ph type="sldNum" sz="quarter" idx="12"/>
          </p:nvPr>
        </p:nvSpPr>
        <p:spPr/>
        <p:txBody>
          <a:bodyPr/>
          <a:lstStyle/>
          <a:p>
            <a:pPr>
              <a:defRPr/>
            </a:pPr>
            <a:fld id="{91D03FF3-2B9E-4617-A592-48F56EC63E6E}" type="slidenum">
              <a:rPr lang="en-US" smtClean="0">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1393508878"/>
      </p:ext>
    </p:extLst>
  </p:cSld>
  <p:clrMapOvr>
    <a:masterClrMapping/>
  </p:clrMapOvr>
  <p:hf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Section Header 4">
    <p:bg>
      <p:bgPr>
        <a:solidFill>
          <a:schemeClr val="accent1"/>
        </a:solidFill>
        <a:effectLst/>
      </p:bgPr>
    </p:bg>
    <p:spTree>
      <p:nvGrpSpPr>
        <p:cNvPr id="1" name=""/>
        <p:cNvGrpSpPr/>
        <p:nvPr/>
      </p:nvGrpSpPr>
      <p:grpSpPr>
        <a:xfrm>
          <a:off x="0" y="0"/>
          <a:ext cx="0" cy="0"/>
          <a:chOff x="0" y="0"/>
          <a:chExt cx="0" cy="0"/>
        </a:xfrm>
      </p:grpSpPr>
      <p:sp>
        <p:nvSpPr>
          <p:cNvPr id="12" name="Freeform 6"/>
          <p:cNvSpPr>
            <a:spLocks/>
          </p:cNvSpPr>
          <p:nvPr userDrawn="1"/>
        </p:nvSpPr>
        <p:spPr bwMode="auto">
          <a:xfrm>
            <a:off x="3425840" y="0"/>
            <a:ext cx="5733420" cy="6858000"/>
          </a:xfrm>
          <a:custGeom>
            <a:avLst/>
            <a:gdLst/>
            <a:ahLst/>
            <a:cxnLst/>
            <a:rect l="l" t="t" r="r" b="b"/>
            <a:pathLst>
              <a:path w="5733420" h="6858000">
                <a:moveTo>
                  <a:pt x="0" y="0"/>
                </a:moveTo>
                <a:lnTo>
                  <a:pt x="634" y="0"/>
                </a:lnTo>
                <a:lnTo>
                  <a:pt x="5733420" y="0"/>
                </a:lnTo>
                <a:lnTo>
                  <a:pt x="5729588" y="6858000"/>
                </a:lnTo>
                <a:lnTo>
                  <a:pt x="3963034" y="685800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705289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bg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19" name="Isosceles Triangle 18"/>
          <p:cNvSpPr/>
          <p:nvPr userDrawn="1"/>
        </p:nvSpPr>
        <p:spPr bwMode="auto">
          <a:xfrm>
            <a:off x="7496175" y="3993931"/>
            <a:ext cx="1661161" cy="2864069"/>
          </a:xfrm>
          <a:custGeom>
            <a:avLst/>
            <a:gdLst/>
            <a:ahLst/>
            <a:cxnLst/>
            <a:rect l="l" t="t" r="r" b="b"/>
            <a:pathLst>
              <a:path w="1661161" h="2864069">
                <a:moveTo>
                  <a:pt x="1661161" y="0"/>
                </a:moveTo>
                <a:lnTo>
                  <a:pt x="1661161" y="2864069"/>
                </a:lnTo>
                <a:lnTo>
                  <a:pt x="0" y="2864069"/>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1" name="Freeform 6"/>
          <p:cNvSpPr>
            <a:spLocks/>
          </p:cNvSpPr>
          <p:nvPr userDrawn="1"/>
        </p:nvSpPr>
        <p:spPr bwMode="auto">
          <a:xfrm>
            <a:off x="4879047" y="0"/>
            <a:ext cx="4280213" cy="5697264"/>
          </a:xfrm>
          <a:custGeom>
            <a:avLst/>
            <a:gdLst/>
            <a:ahLst/>
            <a:cxnLst/>
            <a:rect l="l" t="t" r="r" b="b"/>
            <a:pathLst>
              <a:path w="4280213" h="5697264">
                <a:moveTo>
                  <a:pt x="0" y="0"/>
                </a:moveTo>
                <a:lnTo>
                  <a:pt x="634" y="0"/>
                </a:lnTo>
                <a:lnTo>
                  <a:pt x="4280213" y="0"/>
                </a:lnTo>
                <a:lnTo>
                  <a:pt x="4280213" y="3993931"/>
                </a:lnTo>
                <a:lnTo>
                  <a:pt x="3292279" y="569726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4" name="Isosceles Triangle 13"/>
          <p:cNvSpPr/>
          <p:nvPr userDrawn="1"/>
        </p:nvSpPr>
        <p:spPr bwMode="auto">
          <a:xfrm>
            <a:off x="7496175" y="5696782"/>
            <a:ext cx="1347013" cy="1161218"/>
          </a:xfrm>
          <a:prstGeom prst="triangle">
            <a:avLst/>
          </a:pr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1731456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Arrow 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53961"/>
            <a:ext cx="6158232" cy="1234440"/>
          </a:xfrm>
        </p:spPr>
        <p:txBody>
          <a:bodyPr vert="horz" lIns="0" tIns="0" rIns="0" bIns="0" rtlCol="0">
            <a:noAutofit/>
          </a:bodyPr>
          <a:lstStyle>
            <a:lvl1pPr>
              <a:defRPr lang="en-US" sz="1600" noProof="0" dirty="0" smtClean="0">
                <a:solidFill>
                  <a:schemeClr val="tx1"/>
                </a:solidFill>
              </a:defRPr>
            </a:lvl1pPr>
            <a:lvl2pPr>
              <a:defRPr lang="en-US" sz="1400" noProof="0" dirty="0" smtClean="0"/>
            </a:lvl2pPr>
            <a:lvl3pPr>
              <a:defRPr lang="en-US" sz="1400" noProof="0" dirty="0" smtClean="0"/>
            </a:lvl3pPr>
            <a:lvl4pPr>
              <a:defRPr lang="en-US" noProof="0" dirty="0" smtClean="0"/>
            </a:lvl4pPr>
            <a:lvl5pPr>
              <a:defRPr lang="en-US"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noProof="0"/>
              <a:pPr>
                <a:defRPr/>
              </a:pPr>
              <a:t>‹#›</a:t>
            </a:fld>
            <a:endParaRPr lang="en-US" noProof="0" dirty="0"/>
          </a:p>
        </p:txBody>
      </p:sp>
      <p:sp>
        <p:nvSpPr>
          <p:cNvPr id="7" name="Content Placeholder 6"/>
          <p:cNvSpPr>
            <a:spLocks noGrp="1"/>
          </p:cNvSpPr>
          <p:nvPr>
            <p:ph sz="quarter" idx="16"/>
          </p:nvPr>
        </p:nvSpPr>
        <p:spPr>
          <a:xfrm>
            <a:off x="2622231" y="3202716"/>
            <a:ext cx="6158232" cy="1234440"/>
          </a:xfrm>
        </p:spPr>
        <p:txBody>
          <a:bodyPr vert="horz" lIns="0" tIns="0" rIns="0" bIns="0" rtlCol="0">
            <a:noAutofit/>
          </a:bodyPr>
          <a:lstStyle>
            <a:lvl1pPr>
              <a:defRPr lang="en-US" sz="1600" dirty="0" smtClean="0">
                <a:solidFill>
                  <a:schemeClr val="tx1"/>
                </a:solidFill>
              </a:defRPr>
            </a:lvl1pPr>
            <a:lvl2pPr>
              <a:defRPr lang="en-US" sz="1400" dirty="0" smtClean="0"/>
            </a:lvl2pPr>
            <a:lvl3pPr>
              <a:defRPr lang="en-US" sz="1400"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53961"/>
            <a:ext cx="2102167" cy="123444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202716"/>
            <a:ext cx="2102167" cy="123444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4751471"/>
            <a:ext cx="6158232" cy="1234440"/>
          </a:xfrm>
        </p:spPr>
        <p:txBody>
          <a:bodyPr vert="horz" lIns="0" tIns="0" rIns="0" bIns="0" rtlCol="0">
            <a:noAutofit/>
          </a:bodyPr>
          <a:lstStyle>
            <a:lvl1pPr>
              <a:defRPr lang="en-US" sz="1600" dirty="0" smtClean="0">
                <a:solidFill>
                  <a:schemeClr val="tx1"/>
                </a:solidFill>
              </a:defRPr>
            </a:lvl1pPr>
            <a:lvl2pPr>
              <a:defRPr lang="en-US" sz="1400" dirty="0" smtClean="0"/>
            </a:lvl2pPr>
            <a:lvl3pPr>
              <a:defRPr lang="en-US" sz="1400"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p:cNvSpPr>
            <a:spLocks noGrp="1"/>
          </p:cNvSpPr>
          <p:nvPr>
            <p:ph type="body" sz="quarter" idx="27"/>
            <p:custDataLst>
              <p:tags r:id="rId3"/>
            </p:custDataLst>
          </p:nvPr>
        </p:nvSpPr>
        <p:spPr>
          <a:xfrm>
            <a:off x="366712" y="4751471"/>
            <a:ext cx="2102167" cy="123444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659005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Arrow 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08696"/>
            <a:ext cx="6158232" cy="960120"/>
          </a:xfrm>
        </p:spPr>
        <p:txBody>
          <a:bodyPr vert="horz" lIns="0" tIns="0" rIns="0" bIns="0" rtlCol="0">
            <a:noAutofit/>
          </a:bodyPr>
          <a:lstStyle>
            <a:lvl1pPr>
              <a:defRPr lang="en-US" sz="1600" b="0" noProof="0" dirty="0" smtClean="0">
                <a:solidFill>
                  <a:schemeClr val="tx1"/>
                </a:solidFill>
              </a:defRPr>
            </a:lvl1pPr>
            <a:lvl2pPr>
              <a:defRPr lang="en-US" sz="1400" noProof="0" dirty="0" smtClean="0"/>
            </a:lvl2pPr>
            <a:lvl3pPr>
              <a:defRPr lang="en-US" sz="1400" noProof="0" dirty="0" smtClean="0"/>
            </a:lvl3pPr>
          </a:lstStyle>
          <a:p>
            <a:pPr lvl="0"/>
            <a:r>
              <a:rPr lang="en-US" noProof="0"/>
              <a:t>Click to edit Master text styles</a:t>
            </a:r>
          </a:p>
          <a:p>
            <a:pPr lvl="1"/>
            <a:r>
              <a:rPr lang="en-US" noProof="0"/>
              <a:t>Second level</a:t>
            </a:r>
          </a:p>
          <a:p>
            <a:pPr lvl="2"/>
            <a:r>
              <a:rPr lang="en-US" noProof="0"/>
              <a:t>Third level</a:t>
            </a:r>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noProof="0"/>
              <a:pPr>
                <a:defRPr/>
              </a:pPr>
              <a:t>‹#›</a:t>
            </a:fld>
            <a:endParaRPr lang="en-US" noProof="0" dirty="0"/>
          </a:p>
        </p:txBody>
      </p:sp>
      <p:sp>
        <p:nvSpPr>
          <p:cNvPr id="7" name="Content Placeholder 6"/>
          <p:cNvSpPr>
            <a:spLocks noGrp="1"/>
          </p:cNvSpPr>
          <p:nvPr>
            <p:ph sz="quarter" idx="16"/>
          </p:nvPr>
        </p:nvSpPr>
        <p:spPr>
          <a:xfrm>
            <a:off x="2622231" y="2761213"/>
            <a:ext cx="6158232" cy="96012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8" name="Text Placeholder 2"/>
          <p:cNvSpPr>
            <a:spLocks noGrp="1"/>
          </p:cNvSpPr>
          <p:nvPr>
            <p:ph type="body" sz="quarter" idx="24"/>
            <p:custDataLst>
              <p:tags r:id="rId1"/>
            </p:custDataLst>
          </p:nvPr>
        </p:nvSpPr>
        <p:spPr>
          <a:xfrm>
            <a:off x="366712" y="1608696"/>
            <a:ext cx="2102167" cy="96012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2761213"/>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3913730"/>
            <a:ext cx="6158232" cy="96012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sz="quarter" idx="27"/>
            <p:custDataLst>
              <p:tags r:id="rId3"/>
            </p:custDataLst>
          </p:nvPr>
        </p:nvSpPr>
        <p:spPr>
          <a:xfrm>
            <a:off x="366712" y="3913730"/>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4" name="Content Placeholder 6"/>
          <p:cNvSpPr>
            <a:spLocks noGrp="1"/>
          </p:cNvSpPr>
          <p:nvPr>
            <p:ph sz="quarter" idx="28"/>
          </p:nvPr>
        </p:nvSpPr>
        <p:spPr>
          <a:xfrm>
            <a:off x="2622231" y="5066246"/>
            <a:ext cx="6158232" cy="96012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5" name="Text Placeholder 2"/>
          <p:cNvSpPr>
            <a:spLocks noGrp="1"/>
          </p:cNvSpPr>
          <p:nvPr>
            <p:ph type="body" sz="quarter" idx="29"/>
            <p:custDataLst>
              <p:tags r:id="rId4"/>
            </p:custDataLst>
          </p:nvPr>
        </p:nvSpPr>
        <p:spPr>
          <a:xfrm>
            <a:off x="366712" y="5066246"/>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29556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12" name="Freeform 6"/>
          <p:cNvSpPr>
            <a:spLocks/>
          </p:cNvSpPr>
          <p:nvPr/>
        </p:nvSpPr>
        <p:spPr bwMode="auto">
          <a:xfrm>
            <a:off x="3425840" y="0"/>
            <a:ext cx="5733420" cy="6858000"/>
          </a:xfrm>
          <a:custGeom>
            <a:avLst/>
            <a:gdLst/>
            <a:ahLst/>
            <a:cxnLst/>
            <a:rect l="l" t="t" r="r" b="b"/>
            <a:pathLst>
              <a:path w="5733420" h="6858000">
                <a:moveTo>
                  <a:pt x="0" y="0"/>
                </a:moveTo>
                <a:lnTo>
                  <a:pt x="634" y="0"/>
                </a:lnTo>
                <a:lnTo>
                  <a:pt x="5733420" y="0"/>
                </a:lnTo>
                <a:lnTo>
                  <a:pt x="5729588" y="6858000"/>
                </a:lnTo>
                <a:lnTo>
                  <a:pt x="3963034" y="685800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lvl="0"/>
            <a:endParaRPr lang="en-US"/>
          </a:p>
        </p:txBody>
      </p:sp>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159439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19" name="Isosceles Triangle 18"/>
          <p:cNvSpPr/>
          <p:nvPr/>
        </p:nvSpPr>
        <p:spPr bwMode="auto">
          <a:xfrm>
            <a:off x="7496175" y="3993931"/>
            <a:ext cx="1661161" cy="2864069"/>
          </a:xfrm>
          <a:custGeom>
            <a:avLst/>
            <a:gdLst/>
            <a:ahLst/>
            <a:cxnLst/>
            <a:rect l="l" t="t" r="r" b="b"/>
            <a:pathLst>
              <a:path w="1661161" h="2864069">
                <a:moveTo>
                  <a:pt x="1661161" y="0"/>
                </a:moveTo>
                <a:lnTo>
                  <a:pt x="1661161" y="2864069"/>
                </a:lnTo>
                <a:lnTo>
                  <a:pt x="0" y="2864069"/>
                </a:lnTo>
                <a:close/>
              </a:path>
            </a:pathLst>
          </a:custGeom>
          <a:solidFill>
            <a:schemeClr val="accent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p>
        </p:txBody>
      </p:sp>
      <p:sp>
        <p:nvSpPr>
          <p:cNvPr id="21" name="Freeform 6"/>
          <p:cNvSpPr>
            <a:spLocks/>
          </p:cNvSpPr>
          <p:nvPr/>
        </p:nvSpPr>
        <p:spPr bwMode="auto">
          <a:xfrm>
            <a:off x="4879047" y="0"/>
            <a:ext cx="4280213" cy="5697264"/>
          </a:xfrm>
          <a:custGeom>
            <a:avLst/>
            <a:gdLst/>
            <a:ahLst/>
            <a:cxnLst/>
            <a:rect l="l" t="t" r="r" b="b"/>
            <a:pathLst>
              <a:path w="4280213" h="5697264">
                <a:moveTo>
                  <a:pt x="0" y="0"/>
                </a:moveTo>
                <a:lnTo>
                  <a:pt x="634" y="0"/>
                </a:lnTo>
                <a:lnTo>
                  <a:pt x="4280213" y="0"/>
                </a:lnTo>
                <a:lnTo>
                  <a:pt x="4280213" y="3993931"/>
                </a:lnTo>
                <a:lnTo>
                  <a:pt x="3292279" y="569726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lvl="0"/>
            <a:endParaRPr lang="en-US"/>
          </a:p>
        </p:txBody>
      </p:sp>
      <p:sp>
        <p:nvSpPr>
          <p:cNvPr id="14" name="Isosceles Triangle 13"/>
          <p:cNvSpPr/>
          <p:nvPr/>
        </p:nvSpPr>
        <p:spPr bwMode="auto">
          <a:xfrm>
            <a:off x="7496175" y="5696782"/>
            <a:ext cx="1347013" cy="1161218"/>
          </a:xfrm>
          <a:prstGeom prst="triangle">
            <a:avLst/>
          </a:pr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p>
        </p:txBody>
      </p:sp>
      <p:grpSp>
        <p:nvGrpSpPr>
          <p:cNvPr id="28" name="Group 27"/>
          <p:cNvGrpSpPr>
            <a:grpSpLocks noChangeAspect="1"/>
          </p:cNvGrpSpPr>
          <p:nvPr/>
        </p:nvGrpSpPr>
        <p:grpSpPr>
          <a:xfrm>
            <a:off x="374651" y="6431112"/>
            <a:ext cx="1673352" cy="328463"/>
            <a:chOff x="374651" y="6029325"/>
            <a:chExt cx="2054224" cy="403225"/>
          </a:xfrm>
        </p:grpSpPr>
        <p:sp>
          <p:nvSpPr>
            <p:cNvPr id="29"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0"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44"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grpSp>
    </p:spTree>
    <p:extLst>
      <p:ext uri="{BB962C8B-B14F-4D97-AF65-F5344CB8AC3E}">
        <p14:creationId xmlns:p14="http://schemas.microsoft.com/office/powerpoint/2010/main" val="1483953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71" name="Text Placeholder 2"/>
          <p:cNvSpPr>
            <a:spLocks noGrp="1"/>
          </p:cNvSpPr>
          <p:nvPr>
            <p:ph type="body" sz="quarter" idx="24"/>
            <p:custDataLst>
              <p:tags r:id="rId1"/>
            </p:custDataLst>
          </p:nvPr>
        </p:nvSpPr>
        <p:spPr>
          <a:xfrm>
            <a:off x="366712" y="1290279"/>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2" name="Text Placeholder 2"/>
          <p:cNvSpPr>
            <a:spLocks noGrp="1"/>
          </p:cNvSpPr>
          <p:nvPr>
            <p:ph type="body" sz="quarter" idx="25"/>
            <p:custDataLst>
              <p:tags r:id="rId2"/>
            </p:custDataLst>
          </p:nvPr>
        </p:nvSpPr>
        <p:spPr>
          <a:xfrm>
            <a:off x="366712" y="1933675"/>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3" name="Text Placeholder 2"/>
          <p:cNvSpPr>
            <a:spLocks noGrp="1"/>
          </p:cNvSpPr>
          <p:nvPr>
            <p:ph type="body" sz="quarter" idx="26"/>
            <p:custDataLst>
              <p:tags r:id="rId3"/>
            </p:custDataLst>
          </p:nvPr>
        </p:nvSpPr>
        <p:spPr>
          <a:xfrm>
            <a:off x="366712" y="2577071"/>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4" name="Text Placeholder 2"/>
          <p:cNvSpPr>
            <a:spLocks noGrp="1"/>
          </p:cNvSpPr>
          <p:nvPr>
            <p:ph type="body" sz="quarter" idx="27"/>
            <p:custDataLst>
              <p:tags r:id="rId4"/>
            </p:custDataLst>
          </p:nvPr>
        </p:nvSpPr>
        <p:spPr>
          <a:xfrm>
            <a:off x="366712" y="3220467"/>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5" name="Text Placeholder 2"/>
          <p:cNvSpPr>
            <a:spLocks noGrp="1"/>
          </p:cNvSpPr>
          <p:nvPr>
            <p:ph type="body" sz="quarter" idx="28"/>
            <p:custDataLst>
              <p:tags r:id="rId5"/>
            </p:custDataLst>
          </p:nvPr>
        </p:nvSpPr>
        <p:spPr>
          <a:xfrm>
            <a:off x="366712" y="3863863"/>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6" name="Text Placeholder 2"/>
          <p:cNvSpPr>
            <a:spLocks noGrp="1"/>
          </p:cNvSpPr>
          <p:nvPr>
            <p:ph type="body" sz="quarter" idx="29"/>
            <p:custDataLst>
              <p:tags r:id="rId6"/>
            </p:custDataLst>
          </p:nvPr>
        </p:nvSpPr>
        <p:spPr>
          <a:xfrm>
            <a:off x="366712" y="4507258"/>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7" name="Text Placeholder 2"/>
          <p:cNvSpPr>
            <a:spLocks noGrp="1"/>
          </p:cNvSpPr>
          <p:nvPr>
            <p:ph type="body" sz="quarter" idx="30"/>
            <p:custDataLst>
              <p:tags r:id="rId7"/>
            </p:custDataLst>
          </p:nvPr>
        </p:nvSpPr>
        <p:spPr>
          <a:xfrm>
            <a:off x="366712" y="5150652"/>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2" name="Title 1"/>
          <p:cNvSpPr>
            <a:spLocks noGrp="1"/>
          </p:cNvSpPr>
          <p:nvPr>
            <p:ph type="title"/>
          </p:nvPr>
        </p:nvSpPr>
        <p:spPr>
          <a:xfrm>
            <a:off x="363538" y="629512"/>
            <a:ext cx="8432800" cy="347472"/>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pPr>
              <a:defRPr/>
            </a:pPr>
            <a:fld id="{91D03FF3-2B9E-4617-A592-48F56EC63E6E}" type="slidenum">
              <a:rPr lang="en-US" noProof="0" smtClean="0"/>
              <a:pPr>
                <a:defRPr/>
              </a:pPr>
              <a:t>‹#›</a:t>
            </a:fld>
            <a:endParaRPr lang="en-US" noProof="0" dirty="0"/>
          </a:p>
        </p:txBody>
      </p:sp>
      <p:sp>
        <p:nvSpPr>
          <p:cNvPr id="61" name="Text Placeholder 60"/>
          <p:cNvSpPr>
            <a:spLocks noGrp="1"/>
          </p:cNvSpPr>
          <p:nvPr>
            <p:ph type="body" sz="quarter" idx="12" hasCustomPrompt="1"/>
          </p:nvPr>
        </p:nvSpPr>
        <p:spPr>
          <a:xfrm>
            <a:off x="366713" y="1290279"/>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lvl1pPr marL="0" indent="0">
              <a:buFont typeface="Arial" panose="020B0604020202020204" pitchFamily="34" charset="0"/>
              <a:buChar char="​"/>
              <a:defRPr lang="en-US" sz="2400" b="1" dirty="0" smtClean="0">
                <a:solidFill>
                  <a:schemeClr val="bg1"/>
                </a:solidFill>
                <a:latin typeface="Arial" panose="020B0604020202020204" pitchFamily="34" charset="0"/>
                <a:cs typeface="Arial" panose="020B0604020202020204" pitchFamily="34" charset="0"/>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marL="1595437" indent="0">
              <a:buNone/>
              <a:defRPr lang="en-US" dirty="0">
                <a:solidFill>
                  <a:schemeClr val="lt1"/>
                </a:solidFill>
              </a:defRPr>
            </a:lvl5pPr>
          </a:lstStyle>
          <a:p>
            <a:pPr lvl="0" algn="ctr">
              <a:spcBef>
                <a:spcPct val="0"/>
              </a:spcBef>
            </a:pPr>
            <a:r>
              <a:rPr lang="en-US" dirty="0"/>
              <a:t>#</a:t>
            </a:r>
          </a:p>
        </p:txBody>
      </p:sp>
      <p:sp>
        <p:nvSpPr>
          <p:cNvPr id="63" name="Text Placeholder 60"/>
          <p:cNvSpPr>
            <a:spLocks noGrp="1"/>
          </p:cNvSpPr>
          <p:nvPr>
            <p:ph type="body" sz="quarter" idx="13" hasCustomPrompt="1"/>
          </p:nvPr>
        </p:nvSpPr>
        <p:spPr>
          <a:xfrm>
            <a:off x="366713" y="1934469"/>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4" name="Text Placeholder 60"/>
          <p:cNvSpPr>
            <a:spLocks noGrp="1"/>
          </p:cNvSpPr>
          <p:nvPr>
            <p:ph type="body" sz="quarter" idx="14" hasCustomPrompt="1"/>
          </p:nvPr>
        </p:nvSpPr>
        <p:spPr>
          <a:xfrm>
            <a:off x="366713" y="25778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5" name="Text Placeholder 60"/>
          <p:cNvSpPr>
            <a:spLocks noGrp="1"/>
          </p:cNvSpPr>
          <p:nvPr>
            <p:ph type="body" sz="quarter" idx="15" hasCustomPrompt="1"/>
          </p:nvPr>
        </p:nvSpPr>
        <p:spPr>
          <a:xfrm>
            <a:off x="366713" y="32214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6" name="Text Placeholder 60"/>
          <p:cNvSpPr>
            <a:spLocks noGrp="1"/>
          </p:cNvSpPr>
          <p:nvPr>
            <p:ph type="body" sz="quarter" idx="16" hasCustomPrompt="1"/>
          </p:nvPr>
        </p:nvSpPr>
        <p:spPr>
          <a:xfrm>
            <a:off x="366713" y="38650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7" name="Text Placeholder 60"/>
          <p:cNvSpPr>
            <a:spLocks noGrp="1"/>
          </p:cNvSpPr>
          <p:nvPr>
            <p:ph type="body" sz="quarter" idx="17" hasCustomPrompt="1"/>
          </p:nvPr>
        </p:nvSpPr>
        <p:spPr>
          <a:xfrm>
            <a:off x="366713" y="45086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8" name="Text Placeholder 60"/>
          <p:cNvSpPr>
            <a:spLocks noGrp="1"/>
          </p:cNvSpPr>
          <p:nvPr>
            <p:ph type="body" sz="quarter" idx="18" hasCustomPrompt="1"/>
          </p:nvPr>
        </p:nvSpPr>
        <p:spPr>
          <a:xfrm>
            <a:off x="366713" y="5152240"/>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Tree>
    <p:extLst>
      <p:ext uri="{BB962C8B-B14F-4D97-AF65-F5344CB8AC3E}">
        <p14:creationId xmlns:p14="http://schemas.microsoft.com/office/powerpoint/2010/main" val="1448073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ection Header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724193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21" name="Freeform 6"/>
          <p:cNvSpPr>
            <a:spLocks/>
          </p:cNvSpPr>
          <p:nvPr/>
        </p:nvSpPr>
        <p:spPr bwMode="auto">
          <a:xfrm>
            <a:off x="5506102" y="0"/>
            <a:ext cx="3648058" cy="5697264"/>
          </a:xfrm>
          <a:custGeom>
            <a:avLst/>
            <a:gdLst/>
            <a:ahLst/>
            <a:cxnLst/>
            <a:rect l="l" t="t" r="r" b="b"/>
            <a:pathLst>
              <a:path w="3648058" h="5697264">
                <a:moveTo>
                  <a:pt x="0" y="0"/>
                </a:moveTo>
                <a:lnTo>
                  <a:pt x="634" y="0"/>
                </a:lnTo>
                <a:lnTo>
                  <a:pt x="3648058" y="0"/>
                </a:lnTo>
                <a:lnTo>
                  <a:pt x="3648058" y="5083853"/>
                </a:lnTo>
                <a:lnTo>
                  <a:pt x="3292279" y="569726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lvl="0"/>
            <a:endParaRPr lang="en-US"/>
          </a:p>
        </p:txBody>
      </p:sp>
      <p:sp>
        <p:nvSpPr>
          <p:cNvPr id="19" name="Isosceles Triangle 18"/>
          <p:cNvSpPr/>
          <p:nvPr/>
        </p:nvSpPr>
        <p:spPr bwMode="auto">
          <a:xfrm>
            <a:off x="7315116" y="3687235"/>
            <a:ext cx="1839045" cy="3170765"/>
          </a:xfrm>
          <a:custGeom>
            <a:avLst/>
            <a:gdLst/>
            <a:ahLst/>
            <a:cxnLst/>
            <a:rect l="l" t="t" r="r" b="b"/>
            <a:pathLst>
              <a:path w="1839045" h="3170765">
                <a:moveTo>
                  <a:pt x="1839045" y="0"/>
                </a:moveTo>
                <a:lnTo>
                  <a:pt x="1839045" y="3170765"/>
                </a:lnTo>
                <a:lnTo>
                  <a:pt x="0" y="3170765"/>
                </a:lnTo>
                <a:close/>
              </a:path>
            </a:pathLst>
          </a:cu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p>
        </p:txBody>
      </p:sp>
      <p:grpSp>
        <p:nvGrpSpPr>
          <p:cNvPr id="32" name="Group 31"/>
          <p:cNvGrpSpPr>
            <a:grpSpLocks noChangeAspect="1"/>
          </p:cNvGrpSpPr>
          <p:nvPr/>
        </p:nvGrpSpPr>
        <p:grpSpPr>
          <a:xfrm>
            <a:off x="374651" y="6431112"/>
            <a:ext cx="1673352" cy="328463"/>
            <a:chOff x="374651" y="6029325"/>
            <a:chExt cx="2054224" cy="403225"/>
          </a:xfrm>
        </p:grpSpPr>
        <p:sp>
          <p:nvSpPr>
            <p:cNvPr id="33"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4"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48"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grpSp>
      <p:sp>
        <p:nvSpPr>
          <p:cNvPr id="26" name="Isosceles Triangle 13"/>
          <p:cNvSpPr/>
          <p:nvPr/>
        </p:nvSpPr>
        <p:spPr bwMode="auto">
          <a:xfrm>
            <a:off x="7315115" y="4997292"/>
            <a:ext cx="1839045" cy="1860708"/>
          </a:xfrm>
          <a:custGeom>
            <a:avLst/>
            <a:gdLst/>
            <a:ahLst/>
            <a:cxnLst/>
            <a:rect l="l" t="t" r="r" b="b"/>
            <a:pathLst>
              <a:path w="1839045" h="1860708">
                <a:moveTo>
                  <a:pt x="1079211" y="0"/>
                </a:moveTo>
                <a:lnTo>
                  <a:pt x="1839045" y="1310060"/>
                </a:lnTo>
                <a:lnTo>
                  <a:pt x="1839045" y="1860708"/>
                </a:lnTo>
                <a:lnTo>
                  <a:pt x="0" y="1860708"/>
                </a:lnTo>
                <a:close/>
              </a:path>
            </a:pathLst>
          </a:custGeom>
          <a:solidFill>
            <a:srgbClr val="BFF21C"/>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897416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ection Header 3">
    <p:spTree>
      <p:nvGrpSpPr>
        <p:cNvPr id="1" name=""/>
        <p:cNvGrpSpPr/>
        <p:nvPr/>
      </p:nvGrpSpPr>
      <p:grpSpPr>
        <a:xfrm>
          <a:off x="0" y="0"/>
          <a:ext cx="0" cy="0"/>
          <a:chOff x="0" y="0"/>
          <a:chExt cx="0" cy="0"/>
        </a:xfrm>
      </p:grpSpPr>
      <p:sp>
        <p:nvSpPr>
          <p:cNvPr id="11" name="Rectangle 3"/>
          <p:cNvSpPr/>
          <p:nvPr/>
        </p:nvSpPr>
        <p:spPr bwMode="auto">
          <a:xfrm>
            <a:off x="0" y="3942080"/>
            <a:ext cx="8034337" cy="2915920"/>
          </a:xfrm>
          <a:custGeom>
            <a:avLst/>
            <a:gdLst>
              <a:gd name="connsiteX0" fmla="*/ 0 w 9142413"/>
              <a:gd name="connsiteY0" fmla="*/ 0 h 2915920"/>
              <a:gd name="connsiteX1" fmla="*/ 9142413 w 9142413"/>
              <a:gd name="connsiteY1" fmla="*/ 0 h 2915920"/>
              <a:gd name="connsiteX2" fmla="*/ 9142413 w 9142413"/>
              <a:gd name="connsiteY2" fmla="*/ 2915920 h 2915920"/>
              <a:gd name="connsiteX3" fmla="*/ 0 w 9142413"/>
              <a:gd name="connsiteY3" fmla="*/ 2915920 h 2915920"/>
              <a:gd name="connsiteX4" fmla="*/ 0 w 9142413"/>
              <a:gd name="connsiteY4" fmla="*/ 0 h 2915920"/>
              <a:gd name="connsiteX0" fmla="*/ 0 w 9142413"/>
              <a:gd name="connsiteY0" fmla="*/ 0 h 2915920"/>
              <a:gd name="connsiteX1" fmla="*/ 9142413 w 9142413"/>
              <a:gd name="connsiteY1" fmla="*/ 2915920 h 2915920"/>
              <a:gd name="connsiteX2" fmla="*/ 0 w 9142413"/>
              <a:gd name="connsiteY2" fmla="*/ 2915920 h 2915920"/>
              <a:gd name="connsiteX3" fmla="*/ 0 w 9142413"/>
              <a:gd name="connsiteY3" fmla="*/ 0 h 2915920"/>
            </a:gdLst>
            <a:ahLst/>
            <a:cxnLst>
              <a:cxn ang="0">
                <a:pos x="connsiteX0" y="connsiteY0"/>
              </a:cxn>
              <a:cxn ang="0">
                <a:pos x="connsiteX1" y="connsiteY1"/>
              </a:cxn>
              <a:cxn ang="0">
                <a:pos x="connsiteX2" y="connsiteY2"/>
              </a:cxn>
              <a:cxn ang="0">
                <a:pos x="connsiteX3" y="connsiteY3"/>
              </a:cxn>
            </a:cxnLst>
            <a:rect l="l" t="t" r="r" b="b"/>
            <a:pathLst>
              <a:path w="9142413" h="2915920">
                <a:moveTo>
                  <a:pt x="0" y="0"/>
                </a:moveTo>
                <a:lnTo>
                  <a:pt x="9142413" y="2915920"/>
                </a:lnTo>
                <a:lnTo>
                  <a:pt x="0" y="2915920"/>
                </a:lnTo>
                <a:lnTo>
                  <a:pt x="0" y="0"/>
                </a:lnTo>
                <a:close/>
              </a:path>
            </a:pathLst>
          </a:custGeom>
          <a:solidFill>
            <a:schemeClr val="bg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p>
        </p:txBody>
      </p:sp>
      <p:sp>
        <p:nvSpPr>
          <p:cNvPr id="12" name="Rectangle 3"/>
          <p:cNvSpPr/>
          <p:nvPr/>
        </p:nvSpPr>
        <p:spPr bwMode="auto">
          <a:xfrm flipH="1">
            <a:off x="6443185" y="4140200"/>
            <a:ext cx="2706767" cy="2717800"/>
          </a:xfrm>
          <a:custGeom>
            <a:avLst/>
            <a:gdLst/>
            <a:ahLst/>
            <a:cxnLst/>
            <a:rect l="l" t="t" r="r" b="b"/>
            <a:pathLst>
              <a:path w="2706767" h="2717800">
                <a:moveTo>
                  <a:pt x="0" y="0"/>
                </a:moveTo>
                <a:lnTo>
                  <a:pt x="0" y="2717800"/>
                </a:lnTo>
                <a:lnTo>
                  <a:pt x="2706767" y="2717800"/>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p>
        </p:txBody>
      </p:sp>
      <p:sp>
        <p:nvSpPr>
          <p:cNvPr id="14" name="Rectangle 3"/>
          <p:cNvSpPr/>
          <p:nvPr/>
        </p:nvSpPr>
        <p:spPr bwMode="auto">
          <a:xfrm>
            <a:off x="6443185" y="6433837"/>
            <a:ext cx="1591152" cy="424163"/>
          </a:xfrm>
          <a:custGeom>
            <a:avLst/>
            <a:gdLst/>
            <a:ahLst/>
            <a:cxnLst/>
            <a:rect l="l" t="t" r="r" b="b"/>
            <a:pathLst>
              <a:path w="1591152" h="424163">
                <a:moveTo>
                  <a:pt x="422441" y="0"/>
                </a:moveTo>
                <a:lnTo>
                  <a:pt x="1591152" y="424163"/>
                </a:lnTo>
                <a:lnTo>
                  <a:pt x="0" y="424163"/>
                </a:lnTo>
                <a:close/>
              </a:path>
            </a:pathLst>
          </a:cu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p>
        </p:txBody>
      </p:sp>
      <p:sp>
        <p:nvSpPr>
          <p:cNvPr id="15" name="Rectangle 3"/>
          <p:cNvSpPr/>
          <p:nvPr/>
        </p:nvSpPr>
        <p:spPr bwMode="auto">
          <a:xfrm flipH="1">
            <a:off x="7443993" y="5145088"/>
            <a:ext cx="1705959" cy="1712912"/>
          </a:xfrm>
          <a:custGeom>
            <a:avLst/>
            <a:gdLst/>
            <a:ahLst/>
            <a:cxnLst/>
            <a:rect l="l" t="t" r="r" b="b"/>
            <a:pathLst>
              <a:path w="1705959" h="1712912">
                <a:moveTo>
                  <a:pt x="0" y="0"/>
                </a:moveTo>
                <a:lnTo>
                  <a:pt x="0" y="1712912"/>
                </a:lnTo>
                <a:lnTo>
                  <a:pt x="1705959" y="1712912"/>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p>
        </p:txBody>
      </p:sp>
      <p:sp>
        <p:nvSpPr>
          <p:cNvPr id="16" name="Rectangle 3"/>
          <p:cNvSpPr/>
          <p:nvPr/>
        </p:nvSpPr>
        <p:spPr bwMode="auto">
          <a:xfrm>
            <a:off x="7443993" y="6700629"/>
            <a:ext cx="590344" cy="157371"/>
          </a:xfrm>
          <a:custGeom>
            <a:avLst/>
            <a:gdLst/>
            <a:ahLst/>
            <a:cxnLst/>
            <a:rect l="l" t="t" r="r" b="b"/>
            <a:pathLst>
              <a:path w="590344" h="157371">
                <a:moveTo>
                  <a:pt x="156733" y="0"/>
                </a:moveTo>
                <a:lnTo>
                  <a:pt x="590344" y="157371"/>
                </a:lnTo>
                <a:lnTo>
                  <a:pt x="0" y="157371"/>
                </a:lnTo>
                <a:close/>
              </a:path>
            </a:pathLst>
          </a:custGeom>
          <a:solidFill>
            <a:schemeClr val="accent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p>
        </p:txBody>
      </p:sp>
      <p:sp>
        <p:nvSpPr>
          <p:cNvPr id="2" name="Title 1"/>
          <p:cNvSpPr>
            <a:spLocks noGrp="1"/>
          </p:cNvSpPr>
          <p:nvPr>
            <p:ph type="ctrTitle"/>
          </p:nvPr>
        </p:nvSpPr>
        <p:spPr>
          <a:xfrm>
            <a:off x="367506" y="2220544"/>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3223749"/>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880869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1815986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ection Header 4">
    <p:bg>
      <p:bgPr>
        <a:solidFill>
          <a:schemeClr val="accent1"/>
        </a:solidFill>
        <a:effectLst/>
      </p:bgPr>
    </p:bg>
    <p:spTree>
      <p:nvGrpSpPr>
        <p:cNvPr id="1" name=""/>
        <p:cNvGrpSpPr/>
        <p:nvPr/>
      </p:nvGrpSpPr>
      <p:grpSpPr>
        <a:xfrm>
          <a:off x="0" y="0"/>
          <a:ext cx="0" cy="0"/>
          <a:chOff x="0" y="0"/>
          <a:chExt cx="0" cy="0"/>
        </a:xfrm>
      </p:grpSpPr>
      <p:sp>
        <p:nvSpPr>
          <p:cNvPr id="12" name="Freeform 6"/>
          <p:cNvSpPr>
            <a:spLocks/>
          </p:cNvSpPr>
          <p:nvPr/>
        </p:nvSpPr>
        <p:spPr bwMode="auto">
          <a:xfrm>
            <a:off x="3425840" y="0"/>
            <a:ext cx="5733420" cy="6858000"/>
          </a:xfrm>
          <a:custGeom>
            <a:avLst/>
            <a:gdLst/>
            <a:ahLst/>
            <a:cxnLst/>
            <a:rect l="l" t="t" r="r" b="b"/>
            <a:pathLst>
              <a:path w="5733420" h="6858000">
                <a:moveTo>
                  <a:pt x="0" y="0"/>
                </a:moveTo>
                <a:lnTo>
                  <a:pt x="634" y="0"/>
                </a:lnTo>
                <a:lnTo>
                  <a:pt x="5733420" y="0"/>
                </a:lnTo>
                <a:lnTo>
                  <a:pt x="5729588" y="6858000"/>
                </a:lnTo>
                <a:lnTo>
                  <a:pt x="3963034" y="685800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lvl="0"/>
            <a:endParaRPr lang="en-US"/>
          </a:p>
        </p:txBody>
      </p:sp>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6136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bg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
        <p:nvSpPr>
          <p:cNvPr id="11" name="Freeform 6"/>
          <p:cNvSpPr>
            <a:spLocks/>
          </p:cNvSpPr>
          <p:nvPr/>
        </p:nvSpPr>
        <p:spPr bwMode="auto">
          <a:xfrm>
            <a:off x="3425840" y="0"/>
            <a:ext cx="5733420" cy="6858000"/>
          </a:xfrm>
          <a:custGeom>
            <a:avLst/>
            <a:gdLst/>
            <a:ahLst/>
            <a:cxnLst/>
            <a:rect l="l" t="t" r="r" b="b"/>
            <a:pathLst>
              <a:path w="5733420" h="6858000">
                <a:moveTo>
                  <a:pt x="0" y="0"/>
                </a:moveTo>
                <a:lnTo>
                  <a:pt x="634" y="0"/>
                </a:lnTo>
                <a:lnTo>
                  <a:pt x="5733420" y="0"/>
                </a:lnTo>
                <a:lnTo>
                  <a:pt x="5729588" y="6858000"/>
                </a:lnTo>
                <a:lnTo>
                  <a:pt x="3963034" y="6858000"/>
                </a:lnTo>
                <a:close/>
              </a:path>
            </a:pathLst>
          </a:custGeom>
          <a:solidFill>
            <a:srgbClr val="6ECFF5"/>
          </a:solidFill>
          <a:ln>
            <a:noFill/>
          </a:ln>
          <a:extLst/>
        </p:spPr>
        <p:txBody>
          <a:bodyPr vert="horz" wrap="square" lIns="91440" tIns="45720" rIns="91440" bIns="45720" numCol="1" anchor="t" anchorCtr="0" compatLnSpc="1">
            <a:prstTxWarp prst="textNoShape">
              <a:avLst/>
            </a:prstTxWarp>
          </a:bodyPr>
          <a:lstStyle/>
          <a:p>
            <a:pPr lvl="0"/>
            <a:endParaRPr lang="en-US"/>
          </a:p>
        </p:txBody>
      </p:sp>
      <p:sp>
        <p:nvSpPr>
          <p:cNvPr id="13" name="Isosceles Triangle 18"/>
          <p:cNvSpPr/>
          <p:nvPr/>
        </p:nvSpPr>
        <p:spPr bwMode="auto">
          <a:xfrm>
            <a:off x="7496175" y="3993931"/>
            <a:ext cx="1661161" cy="2864069"/>
          </a:xfrm>
          <a:custGeom>
            <a:avLst/>
            <a:gdLst/>
            <a:ahLst/>
            <a:cxnLst/>
            <a:rect l="l" t="t" r="r" b="b"/>
            <a:pathLst>
              <a:path w="1661161" h="2864069">
                <a:moveTo>
                  <a:pt x="1661161" y="0"/>
                </a:moveTo>
                <a:lnTo>
                  <a:pt x="1661161" y="2864069"/>
                </a:lnTo>
                <a:lnTo>
                  <a:pt x="0" y="2864069"/>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p>
        </p:txBody>
      </p:sp>
      <p:sp>
        <p:nvSpPr>
          <p:cNvPr id="15" name="Freeform 6"/>
          <p:cNvSpPr>
            <a:spLocks/>
          </p:cNvSpPr>
          <p:nvPr/>
        </p:nvSpPr>
        <p:spPr bwMode="auto">
          <a:xfrm>
            <a:off x="4879047" y="0"/>
            <a:ext cx="4280213" cy="5697264"/>
          </a:xfrm>
          <a:custGeom>
            <a:avLst/>
            <a:gdLst/>
            <a:ahLst/>
            <a:cxnLst/>
            <a:rect l="l" t="t" r="r" b="b"/>
            <a:pathLst>
              <a:path w="4280213" h="5697264">
                <a:moveTo>
                  <a:pt x="0" y="0"/>
                </a:moveTo>
                <a:lnTo>
                  <a:pt x="634" y="0"/>
                </a:lnTo>
                <a:lnTo>
                  <a:pt x="4280213" y="0"/>
                </a:lnTo>
                <a:lnTo>
                  <a:pt x="4280213" y="3993931"/>
                </a:lnTo>
                <a:lnTo>
                  <a:pt x="3292279" y="569726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pPr lvl="0"/>
            <a:endParaRPr lang="en-US"/>
          </a:p>
        </p:txBody>
      </p:sp>
      <p:sp>
        <p:nvSpPr>
          <p:cNvPr id="16" name="Isosceles Triangle 15"/>
          <p:cNvSpPr/>
          <p:nvPr/>
        </p:nvSpPr>
        <p:spPr bwMode="auto">
          <a:xfrm>
            <a:off x="7496175" y="5696782"/>
            <a:ext cx="1347013" cy="1161218"/>
          </a:xfrm>
          <a:prstGeom prst="triangle">
            <a:avLst/>
          </a:pr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974487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_Title Slide">
    <p:bg>
      <p:bgPr>
        <a:solidFill>
          <a:srgbClr val="0069AA"/>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p:nvPr>
        </p:nvSpPr>
        <p:spPr>
          <a:xfrm>
            <a:off x="457200" y="1371600"/>
            <a:ext cx="8229600" cy="1143000"/>
          </a:xfrm>
          <a:prstGeom prst="rect">
            <a:avLst/>
          </a:prstGeom>
        </p:spPr>
        <p:txBody>
          <a:bodyPr vert="horz" lIns="91440" tIns="45720" rIns="91440" bIns="45720" rtlCol="0" anchor="ctr">
            <a:normAutofit/>
          </a:bodyPr>
          <a:lstStyle>
            <a:lvl1pPr algn="ctr">
              <a:defRPr sz="4000">
                <a:solidFill>
                  <a:schemeClr val="bg1"/>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17" name="Subtitle 2"/>
          <p:cNvSpPr>
            <a:spLocks noGrp="1"/>
          </p:cNvSpPr>
          <p:nvPr>
            <p:ph type="subTitle" idx="1"/>
          </p:nvPr>
        </p:nvSpPr>
        <p:spPr>
          <a:xfrm>
            <a:off x="1371600" y="2590800"/>
            <a:ext cx="6400800" cy="799237"/>
          </a:xfrm>
        </p:spPr>
        <p:txBody>
          <a:bodyPr/>
          <a:lstStyle>
            <a:lvl1pPr marL="0" indent="0" algn="ctr">
              <a:buNone/>
              <a:defRPr>
                <a:solidFill>
                  <a:schemeClr val="bg1">
                    <a:lumMod val="8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3295881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4671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15" name="Title Placeholder 1"/>
          <p:cNvSpPr>
            <a:spLocks noGrp="1"/>
          </p:cNvSpPr>
          <p:nvPr>
            <p:ph type="title"/>
          </p:nvPr>
        </p:nvSpPr>
        <p:spPr>
          <a:xfrm>
            <a:off x="457200" y="1371600"/>
            <a:ext cx="8229600" cy="1143000"/>
          </a:xfrm>
          <a:prstGeom prst="rect">
            <a:avLst/>
          </a:prstGeom>
        </p:spPr>
        <p:txBody>
          <a:bodyPr vert="horz" lIns="91440" tIns="45720" rIns="91440" bIns="45720" rtlCol="0" anchor="ctr">
            <a:normAutofit/>
          </a:bodyPr>
          <a:lstStyle>
            <a:lvl1pPr algn="ctr">
              <a:defRPr sz="4000">
                <a:solidFill>
                  <a:schemeClr val="bg1"/>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17" name="Subtitle 2"/>
          <p:cNvSpPr>
            <a:spLocks noGrp="1"/>
          </p:cNvSpPr>
          <p:nvPr>
            <p:ph type="subTitle" idx="1"/>
          </p:nvPr>
        </p:nvSpPr>
        <p:spPr>
          <a:xfrm>
            <a:off x="1371600" y="2590800"/>
            <a:ext cx="6400800" cy="799237"/>
          </a:xfrm>
        </p:spPr>
        <p:txBody>
          <a:bodyPr/>
          <a:lstStyle>
            <a:lvl1pPr marL="0" indent="0" algn="ctr">
              <a:buNone/>
              <a:defRPr>
                <a:solidFill>
                  <a:schemeClr val="bg1">
                    <a:lumMod val="8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3295881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Freeform 3"/>
          <p:cNvSpPr/>
          <p:nvPr userDrawn="1"/>
        </p:nvSpPr>
        <p:spPr bwMode="auto">
          <a:xfrm>
            <a:off x="6661150" y="0"/>
            <a:ext cx="2503488" cy="6858000"/>
          </a:xfrm>
          <a:custGeom>
            <a:avLst/>
            <a:gdLst>
              <a:gd name="connsiteX0" fmla="*/ 2241550 w 2503488"/>
              <a:gd name="connsiteY0" fmla="*/ 0 h 6858000"/>
              <a:gd name="connsiteX1" fmla="*/ 2503488 w 2503488"/>
              <a:gd name="connsiteY1" fmla="*/ 0 h 6858000"/>
              <a:gd name="connsiteX2" fmla="*/ 2503488 w 2503488"/>
              <a:gd name="connsiteY2" fmla="*/ 1701800 h 6858000"/>
              <a:gd name="connsiteX3" fmla="*/ 2491822 w 2503488"/>
              <a:gd name="connsiteY3" fmla="*/ 1681541 h 6858000"/>
              <a:gd name="connsiteX4" fmla="*/ 2491822 w 2503488"/>
              <a:gd name="connsiteY4" fmla="*/ 1681542 h 6858000"/>
              <a:gd name="connsiteX5" fmla="*/ 2503488 w 2503488"/>
              <a:gd name="connsiteY5" fmla="*/ 1701801 h 6858000"/>
              <a:gd name="connsiteX6" fmla="*/ 2503488 w 2503488"/>
              <a:gd name="connsiteY6" fmla="*/ 3879850 h 6858000"/>
              <a:gd name="connsiteX7" fmla="*/ 2503488 w 2503488"/>
              <a:gd name="connsiteY7" fmla="*/ 3879851 h 6858000"/>
              <a:gd name="connsiteX8" fmla="*/ 2503488 w 2503488"/>
              <a:gd name="connsiteY8" fmla="*/ 6057900 h 6858000"/>
              <a:gd name="connsiteX9" fmla="*/ 2039938 w 2503488"/>
              <a:gd name="connsiteY9" fmla="*/ 6858000 h 6858000"/>
              <a:gd name="connsiteX10" fmla="*/ 1722438 w 2503488"/>
              <a:gd name="connsiteY10" fmla="*/ 6858000 h 6858000"/>
              <a:gd name="connsiteX11" fmla="*/ 1 w 2503488"/>
              <a:gd name="connsiteY11" fmla="*/ 3879851 h 6858000"/>
              <a:gd name="connsiteX12" fmla="*/ 0 w 2503488"/>
              <a:gd name="connsiteY12" fmla="*/ 3879851 h 6858000"/>
              <a:gd name="connsiteX13" fmla="*/ 0 w 2503488"/>
              <a:gd name="connsiteY13" fmla="*/ 3879850 h 6858000"/>
              <a:gd name="connsiteX14" fmla="*/ 1 w 2503488"/>
              <a:gd name="connsiteY14" fmla="*/ 3879850 h 6858000"/>
              <a:gd name="connsiteX15" fmla="*/ 1722691 w 2503488"/>
              <a:gd name="connsiteY15" fmla="*/ 900729 h 6858000"/>
              <a:gd name="connsiteX16" fmla="*/ 1766524 w 2503488"/>
              <a:gd name="connsiteY16" fmla="*/ 824925 h 6858000"/>
              <a:gd name="connsiteX17" fmla="*/ 1882775 w 2503488"/>
              <a:gd name="connsiteY17" fmla="*/ 623888 h 6858000"/>
              <a:gd name="connsiteX18" fmla="*/ 1902681 w 2503488"/>
              <a:gd name="connsiteY18" fmla="*/ 658455 h 6858000"/>
              <a:gd name="connsiteX19" fmla="*/ 1882775 w 2503488"/>
              <a:gd name="connsiteY19" fmla="*/ 623887 h 6858000"/>
              <a:gd name="connsiteX20" fmla="*/ 2241550 w 2503488"/>
              <a:gd name="connsiteY20"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491822 w 2503488"/>
              <a:gd name="connsiteY3" fmla="*/ 1681541 h 6858000"/>
              <a:gd name="connsiteX4" fmla="*/ 2503488 w 2503488"/>
              <a:gd name="connsiteY4" fmla="*/ 1701801 h 6858000"/>
              <a:gd name="connsiteX5" fmla="*/ 2503488 w 2503488"/>
              <a:gd name="connsiteY5" fmla="*/ 3879850 h 6858000"/>
              <a:gd name="connsiteX6" fmla="*/ 2503488 w 2503488"/>
              <a:gd name="connsiteY6" fmla="*/ 3879851 h 6858000"/>
              <a:gd name="connsiteX7" fmla="*/ 2503488 w 2503488"/>
              <a:gd name="connsiteY7" fmla="*/ 6057900 h 6858000"/>
              <a:gd name="connsiteX8" fmla="*/ 2039938 w 2503488"/>
              <a:gd name="connsiteY8" fmla="*/ 6858000 h 6858000"/>
              <a:gd name="connsiteX9" fmla="*/ 1722438 w 2503488"/>
              <a:gd name="connsiteY9" fmla="*/ 6858000 h 6858000"/>
              <a:gd name="connsiteX10" fmla="*/ 1 w 2503488"/>
              <a:gd name="connsiteY10" fmla="*/ 3879851 h 6858000"/>
              <a:gd name="connsiteX11" fmla="*/ 0 w 2503488"/>
              <a:gd name="connsiteY11" fmla="*/ 3879851 h 6858000"/>
              <a:gd name="connsiteX12" fmla="*/ 0 w 2503488"/>
              <a:gd name="connsiteY12" fmla="*/ 3879850 h 6858000"/>
              <a:gd name="connsiteX13" fmla="*/ 1 w 2503488"/>
              <a:gd name="connsiteY13" fmla="*/ 3879850 h 6858000"/>
              <a:gd name="connsiteX14" fmla="*/ 1722691 w 2503488"/>
              <a:gd name="connsiteY14" fmla="*/ 900729 h 6858000"/>
              <a:gd name="connsiteX15" fmla="*/ 1766524 w 2503488"/>
              <a:gd name="connsiteY15" fmla="*/ 824925 h 6858000"/>
              <a:gd name="connsiteX16" fmla="*/ 1882775 w 2503488"/>
              <a:gd name="connsiteY16" fmla="*/ 623888 h 6858000"/>
              <a:gd name="connsiteX17" fmla="*/ 1902681 w 2503488"/>
              <a:gd name="connsiteY17" fmla="*/ 658455 h 6858000"/>
              <a:gd name="connsiteX18" fmla="*/ 1882775 w 2503488"/>
              <a:gd name="connsiteY18" fmla="*/ 623887 h 6858000"/>
              <a:gd name="connsiteX19" fmla="*/ 2241550 w 2503488"/>
              <a:gd name="connsiteY19"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503488 w 2503488"/>
              <a:gd name="connsiteY3" fmla="*/ 1701801 h 6858000"/>
              <a:gd name="connsiteX4" fmla="*/ 2503488 w 2503488"/>
              <a:gd name="connsiteY4" fmla="*/ 3879850 h 6858000"/>
              <a:gd name="connsiteX5" fmla="*/ 2503488 w 2503488"/>
              <a:gd name="connsiteY5" fmla="*/ 3879851 h 6858000"/>
              <a:gd name="connsiteX6" fmla="*/ 2503488 w 2503488"/>
              <a:gd name="connsiteY6" fmla="*/ 6057900 h 6858000"/>
              <a:gd name="connsiteX7" fmla="*/ 2039938 w 2503488"/>
              <a:gd name="connsiteY7" fmla="*/ 6858000 h 6858000"/>
              <a:gd name="connsiteX8" fmla="*/ 1722438 w 2503488"/>
              <a:gd name="connsiteY8" fmla="*/ 6858000 h 6858000"/>
              <a:gd name="connsiteX9" fmla="*/ 1 w 2503488"/>
              <a:gd name="connsiteY9" fmla="*/ 3879851 h 6858000"/>
              <a:gd name="connsiteX10" fmla="*/ 0 w 2503488"/>
              <a:gd name="connsiteY10" fmla="*/ 3879851 h 6858000"/>
              <a:gd name="connsiteX11" fmla="*/ 0 w 2503488"/>
              <a:gd name="connsiteY11" fmla="*/ 3879850 h 6858000"/>
              <a:gd name="connsiteX12" fmla="*/ 1 w 2503488"/>
              <a:gd name="connsiteY12" fmla="*/ 3879850 h 6858000"/>
              <a:gd name="connsiteX13" fmla="*/ 1722691 w 2503488"/>
              <a:gd name="connsiteY13" fmla="*/ 900729 h 6858000"/>
              <a:gd name="connsiteX14" fmla="*/ 1766524 w 2503488"/>
              <a:gd name="connsiteY14" fmla="*/ 824925 h 6858000"/>
              <a:gd name="connsiteX15" fmla="*/ 1882775 w 2503488"/>
              <a:gd name="connsiteY15" fmla="*/ 623888 h 6858000"/>
              <a:gd name="connsiteX16" fmla="*/ 1902681 w 2503488"/>
              <a:gd name="connsiteY16" fmla="*/ 658455 h 6858000"/>
              <a:gd name="connsiteX17" fmla="*/ 1882775 w 2503488"/>
              <a:gd name="connsiteY17" fmla="*/ 623887 h 6858000"/>
              <a:gd name="connsiteX18" fmla="*/ 2241550 w 2503488"/>
              <a:gd name="connsiteY18"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503488 w 2503488"/>
              <a:gd name="connsiteY3" fmla="*/ 3879850 h 6858000"/>
              <a:gd name="connsiteX4" fmla="*/ 2503488 w 2503488"/>
              <a:gd name="connsiteY4" fmla="*/ 3879851 h 6858000"/>
              <a:gd name="connsiteX5" fmla="*/ 2503488 w 2503488"/>
              <a:gd name="connsiteY5" fmla="*/ 6057900 h 6858000"/>
              <a:gd name="connsiteX6" fmla="*/ 2039938 w 2503488"/>
              <a:gd name="connsiteY6" fmla="*/ 6858000 h 6858000"/>
              <a:gd name="connsiteX7" fmla="*/ 1722438 w 2503488"/>
              <a:gd name="connsiteY7" fmla="*/ 6858000 h 6858000"/>
              <a:gd name="connsiteX8" fmla="*/ 1 w 2503488"/>
              <a:gd name="connsiteY8" fmla="*/ 3879851 h 6858000"/>
              <a:gd name="connsiteX9" fmla="*/ 0 w 2503488"/>
              <a:gd name="connsiteY9" fmla="*/ 3879851 h 6858000"/>
              <a:gd name="connsiteX10" fmla="*/ 0 w 2503488"/>
              <a:gd name="connsiteY10" fmla="*/ 3879850 h 6858000"/>
              <a:gd name="connsiteX11" fmla="*/ 1 w 2503488"/>
              <a:gd name="connsiteY11" fmla="*/ 3879850 h 6858000"/>
              <a:gd name="connsiteX12" fmla="*/ 1722691 w 2503488"/>
              <a:gd name="connsiteY12" fmla="*/ 900729 h 6858000"/>
              <a:gd name="connsiteX13" fmla="*/ 1766524 w 2503488"/>
              <a:gd name="connsiteY13" fmla="*/ 824925 h 6858000"/>
              <a:gd name="connsiteX14" fmla="*/ 1882775 w 2503488"/>
              <a:gd name="connsiteY14" fmla="*/ 623888 h 6858000"/>
              <a:gd name="connsiteX15" fmla="*/ 1902681 w 2503488"/>
              <a:gd name="connsiteY15" fmla="*/ 658455 h 6858000"/>
              <a:gd name="connsiteX16" fmla="*/ 1882775 w 2503488"/>
              <a:gd name="connsiteY16" fmla="*/ 623887 h 6858000"/>
              <a:gd name="connsiteX17" fmla="*/ 2241550 w 2503488"/>
              <a:gd name="connsiteY17"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1902681 w 2503488"/>
              <a:gd name="connsiteY14" fmla="*/ 658455 h 6858000"/>
              <a:gd name="connsiteX15" fmla="*/ 1882775 w 2503488"/>
              <a:gd name="connsiteY15" fmla="*/ 623887 h 6858000"/>
              <a:gd name="connsiteX16" fmla="*/ 2241550 w 2503488"/>
              <a:gd name="connsiteY16"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1882775 w 2503488"/>
              <a:gd name="connsiteY14" fmla="*/ 623887 h 6858000"/>
              <a:gd name="connsiteX15" fmla="*/ 2241550 w 2503488"/>
              <a:gd name="connsiteY15"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2241550 w 2503488"/>
              <a:gd name="connsiteY14"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2241550 w 2503488"/>
              <a:gd name="connsiteY13"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66524 w 2503488"/>
              <a:gd name="connsiteY11" fmla="*/ 824925 h 6858000"/>
              <a:gd name="connsiteX12" fmla="*/ 2241550 w 2503488"/>
              <a:gd name="connsiteY12"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3488" h="6858000">
                <a:moveTo>
                  <a:pt x="2241550" y="0"/>
                </a:moveTo>
                <a:lnTo>
                  <a:pt x="2503488" y="0"/>
                </a:lnTo>
                <a:lnTo>
                  <a:pt x="2503488" y="3879850"/>
                </a:lnTo>
                <a:lnTo>
                  <a:pt x="2503488" y="3879851"/>
                </a:lnTo>
                <a:lnTo>
                  <a:pt x="2503488" y="6057900"/>
                </a:lnTo>
                <a:lnTo>
                  <a:pt x="2039938" y="6858000"/>
                </a:lnTo>
                <a:lnTo>
                  <a:pt x="1722438" y="6858000"/>
                </a:lnTo>
                <a:lnTo>
                  <a:pt x="1" y="3879851"/>
                </a:lnTo>
                <a:lnTo>
                  <a:pt x="0" y="3879851"/>
                </a:lnTo>
                <a:lnTo>
                  <a:pt x="0" y="3879850"/>
                </a:lnTo>
                <a:lnTo>
                  <a:pt x="1" y="3879850"/>
                </a:lnTo>
                <a:lnTo>
                  <a:pt x="1766524" y="824925"/>
                </a:lnTo>
                <a:lnTo>
                  <a:pt x="2241550"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5" name="Freeform 6"/>
          <p:cNvSpPr>
            <a:spLocks/>
          </p:cNvSpPr>
          <p:nvPr userDrawn="1"/>
        </p:nvSpPr>
        <p:spPr bwMode="auto">
          <a:xfrm>
            <a:off x="4420553" y="0"/>
            <a:ext cx="4742180" cy="3877946"/>
          </a:xfrm>
          <a:custGeom>
            <a:avLst/>
            <a:gdLst>
              <a:gd name="connsiteX0" fmla="*/ 0 w 4742180"/>
              <a:gd name="connsiteY0" fmla="*/ 0 h 3877946"/>
              <a:gd name="connsiteX1" fmla="*/ 3760788 w 4742180"/>
              <a:gd name="connsiteY1" fmla="*/ 0 h 3877946"/>
              <a:gd name="connsiteX2" fmla="*/ 4120670 w 4742180"/>
              <a:gd name="connsiteY2" fmla="*/ 623361 h 3877946"/>
              <a:gd name="connsiteX3" fmla="*/ 4121467 w 4742180"/>
              <a:gd name="connsiteY3" fmla="*/ 621983 h 3877946"/>
              <a:gd name="connsiteX4" fmla="*/ 4742180 w 4742180"/>
              <a:gd name="connsiteY4" fmla="*/ 1699896 h 3877946"/>
              <a:gd name="connsiteX5" fmla="*/ 4742180 w 4742180"/>
              <a:gd name="connsiteY5" fmla="*/ 3877946 h 3877946"/>
              <a:gd name="connsiteX6" fmla="*/ 2238693 w 4742180"/>
              <a:gd name="connsiteY6" fmla="*/ 3877946 h 3877946"/>
              <a:gd name="connsiteX7" fmla="*/ 2238692 w 4742180"/>
              <a:gd name="connsiteY7" fmla="*/ 3877946 h 3877946"/>
              <a:gd name="connsiteX8" fmla="*/ 2238692 w 4742180"/>
              <a:gd name="connsiteY8" fmla="*/ 3877945 h 3877946"/>
              <a:gd name="connsiteX9" fmla="*/ 2238693 w 4742180"/>
              <a:gd name="connsiteY9" fmla="*/ 3877945 h 3877946"/>
              <a:gd name="connsiteX10" fmla="*/ 2238778 w 4742180"/>
              <a:gd name="connsiteY10" fmla="*/ 3877798 h 3877946"/>
              <a:gd name="connsiteX11" fmla="*/ 0 w 4742180"/>
              <a:gd name="connsiteY11" fmla="*/ 0 h 3877946"/>
              <a:gd name="connsiteX0" fmla="*/ 0 w 4742180"/>
              <a:gd name="connsiteY0" fmla="*/ 0 h 3877946"/>
              <a:gd name="connsiteX1" fmla="*/ 3760788 w 4742180"/>
              <a:gd name="connsiteY1" fmla="*/ 0 h 3877946"/>
              <a:gd name="connsiteX2" fmla="*/ 4120670 w 4742180"/>
              <a:gd name="connsiteY2" fmla="*/ 623361 h 3877946"/>
              <a:gd name="connsiteX3" fmla="*/ 4742180 w 4742180"/>
              <a:gd name="connsiteY3" fmla="*/ 1699896 h 3877946"/>
              <a:gd name="connsiteX4" fmla="*/ 4742180 w 4742180"/>
              <a:gd name="connsiteY4" fmla="*/ 3877946 h 3877946"/>
              <a:gd name="connsiteX5" fmla="*/ 2238693 w 4742180"/>
              <a:gd name="connsiteY5" fmla="*/ 3877946 h 3877946"/>
              <a:gd name="connsiteX6" fmla="*/ 2238692 w 4742180"/>
              <a:gd name="connsiteY6" fmla="*/ 3877946 h 3877946"/>
              <a:gd name="connsiteX7" fmla="*/ 2238692 w 4742180"/>
              <a:gd name="connsiteY7" fmla="*/ 3877945 h 3877946"/>
              <a:gd name="connsiteX8" fmla="*/ 2238693 w 4742180"/>
              <a:gd name="connsiteY8" fmla="*/ 3877945 h 3877946"/>
              <a:gd name="connsiteX9" fmla="*/ 2238778 w 4742180"/>
              <a:gd name="connsiteY9" fmla="*/ 3877798 h 3877946"/>
              <a:gd name="connsiteX10" fmla="*/ 0 w 4742180"/>
              <a:gd name="connsiteY10" fmla="*/ 0 h 3877946"/>
              <a:gd name="connsiteX0" fmla="*/ 0 w 4742180"/>
              <a:gd name="connsiteY0" fmla="*/ 0 h 3877946"/>
              <a:gd name="connsiteX1" fmla="*/ 3760788 w 4742180"/>
              <a:gd name="connsiteY1" fmla="*/ 0 h 3877946"/>
              <a:gd name="connsiteX2" fmla="*/ 4742180 w 4742180"/>
              <a:gd name="connsiteY2" fmla="*/ 1699896 h 3877946"/>
              <a:gd name="connsiteX3" fmla="*/ 4742180 w 4742180"/>
              <a:gd name="connsiteY3" fmla="*/ 3877946 h 3877946"/>
              <a:gd name="connsiteX4" fmla="*/ 2238693 w 4742180"/>
              <a:gd name="connsiteY4" fmla="*/ 3877946 h 3877946"/>
              <a:gd name="connsiteX5" fmla="*/ 2238692 w 4742180"/>
              <a:gd name="connsiteY5" fmla="*/ 3877946 h 3877946"/>
              <a:gd name="connsiteX6" fmla="*/ 2238692 w 4742180"/>
              <a:gd name="connsiteY6" fmla="*/ 3877945 h 3877946"/>
              <a:gd name="connsiteX7" fmla="*/ 2238693 w 4742180"/>
              <a:gd name="connsiteY7" fmla="*/ 3877945 h 3877946"/>
              <a:gd name="connsiteX8" fmla="*/ 2238778 w 4742180"/>
              <a:gd name="connsiteY8" fmla="*/ 3877798 h 3877946"/>
              <a:gd name="connsiteX9" fmla="*/ 0 w 4742180"/>
              <a:gd name="connsiteY9" fmla="*/ 0 h 387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2180" h="3877946">
                <a:moveTo>
                  <a:pt x="0" y="0"/>
                </a:moveTo>
                <a:lnTo>
                  <a:pt x="3760788" y="0"/>
                </a:lnTo>
                <a:lnTo>
                  <a:pt x="4742180" y="1699896"/>
                </a:lnTo>
                <a:lnTo>
                  <a:pt x="4742180" y="3877946"/>
                </a:lnTo>
                <a:lnTo>
                  <a:pt x="2238693" y="3877946"/>
                </a:lnTo>
                <a:lnTo>
                  <a:pt x="2238692" y="3877946"/>
                </a:lnTo>
                <a:lnTo>
                  <a:pt x="2238692" y="3877945"/>
                </a:lnTo>
                <a:lnTo>
                  <a:pt x="2238693" y="3877945"/>
                </a:lnTo>
                <a:cubicBezTo>
                  <a:pt x="2238721" y="3877896"/>
                  <a:pt x="2238750" y="3877847"/>
                  <a:pt x="2238778" y="3877798"/>
                </a:cubicBezTo>
                <a:lnTo>
                  <a:pt x="0" y="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8" name="Freeform 6"/>
          <p:cNvSpPr>
            <a:spLocks/>
          </p:cNvSpPr>
          <p:nvPr userDrawn="1"/>
        </p:nvSpPr>
        <p:spPr bwMode="auto">
          <a:xfrm>
            <a:off x="6661150" y="623888"/>
            <a:ext cx="2503488" cy="3255963"/>
          </a:xfrm>
          <a:custGeom>
            <a:avLst/>
            <a:gdLst>
              <a:gd name="T0" fmla="*/ 0 w 1577"/>
              <a:gd name="T1" fmla="*/ 2051 h 2051"/>
              <a:gd name="T2" fmla="*/ 1577 w 1577"/>
              <a:gd name="T3" fmla="*/ 2051 h 2051"/>
              <a:gd name="T4" fmla="*/ 1577 w 1577"/>
              <a:gd name="T5" fmla="*/ 679 h 2051"/>
              <a:gd name="T6" fmla="*/ 1186 w 1577"/>
              <a:gd name="T7" fmla="*/ 0 h 2051"/>
              <a:gd name="T8" fmla="*/ 0 w 1577"/>
              <a:gd name="T9" fmla="*/ 2051 h 2051"/>
            </a:gdLst>
            <a:ahLst/>
            <a:cxnLst>
              <a:cxn ang="0">
                <a:pos x="T0" y="T1"/>
              </a:cxn>
              <a:cxn ang="0">
                <a:pos x="T2" y="T3"/>
              </a:cxn>
              <a:cxn ang="0">
                <a:pos x="T4" y="T5"/>
              </a:cxn>
              <a:cxn ang="0">
                <a:pos x="T6" y="T7"/>
              </a:cxn>
              <a:cxn ang="0">
                <a:pos x="T8" y="T9"/>
              </a:cxn>
            </a:cxnLst>
            <a:rect l="0" t="0" r="r" b="b"/>
            <a:pathLst>
              <a:path w="1577" h="2051">
                <a:moveTo>
                  <a:pt x="0" y="2051"/>
                </a:moveTo>
                <a:lnTo>
                  <a:pt x="1577" y="2051"/>
                </a:lnTo>
                <a:lnTo>
                  <a:pt x="1577" y="679"/>
                </a:lnTo>
                <a:lnTo>
                  <a:pt x="1186" y="0"/>
                </a:lnTo>
                <a:lnTo>
                  <a:pt x="0" y="2051"/>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717264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2648584"/>
            <a:ext cx="5667534" cy="1470025"/>
          </a:xfrm>
        </p:spPr>
        <p:txBody>
          <a:bodyPr anchor="b"/>
          <a:lstStyle>
            <a:lvl1pPr>
              <a:defRPr sz="400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67506" y="4161551"/>
            <a:ext cx="5669280" cy="488157"/>
          </a:xfrm>
        </p:spPr>
        <p:txBody>
          <a:bodyPr anchor="t"/>
          <a:lstStyle>
            <a:lvl1pPr marL="0" indent="0" algn="l">
              <a:buNone/>
              <a:defRPr sz="28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65" name="Text Placeholder 64"/>
          <p:cNvSpPr>
            <a:spLocks noGrp="1"/>
          </p:cNvSpPr>
          <p:nvPr>
            <p:ph type="body" sz="quarter" idx="10" hasCustomPrompt="1"/>
          </p:nvPr>
        </p:nvSpPr>
        <p:spPr>
          <a:xfrm>
            <a:off x="367506" y="4673918"/>
            <a:ext cx="5669280" cy="345122"/>
          </a:xfrm>
        </p:spPr>
        <p:txBody>
          <a:bodyPr>
            <a:noAutofit/>
          </a:bodyPr>
          <a:lstStyle>
            <a:lvl1pPr marL="0" indent="0">
              <a:buNone/>
              <a:defRPr b="0">
                <a:solidFill>
                  <a:schemeClr val="tx1"/>
                </a:solidFill>
              </a:defRPr>
            </a:lvl1pPr>
          </a:lstStyle>
          <a:p>
            <a:pPr lvl="0"/>
            <a:r>
              <a:rPr lang="en-US" b="0" dirty="0"/>
              <a:t>Date</a:t>
            </a:r>
            <a:endParaRPr lang="en-US" dirty="0"/>
          </a:p>
        </p:txBody>
      </p:sp>
      <p:grpSp>
        <p:nvGrpSpPr>
          <p:cNvPr id="30" name="Group 29"/>
          <p:cNvGrpSpPr/>
          <p:nvPr userDrawn="1"/>
        </p:nvGrpSpPr>
        <p:grpSpPr>
          <a:xfrm>
            <a:off x="374651" y="6029325"/>
            <a:ext cx="2054224" cy="403225"/>
            <a:chOff x="374651" y="6029325"/>
            <a:chExt cx="2054224" cy="403225"/>
          </a:xfrm>
        </p:grpSpPr>
        <p:sp>
          <p:nvSpPr>
            <p:cNvPr id="28"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7"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9" name="Freeform 8"/>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0" name="Freeform 9"/>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1" name="Freeform 10"/>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2" name="Freeform 11"/>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3" name="Freeform 12"/>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4" name="Freeform 13"/>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6"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7"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8"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9"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0"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1"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5"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6"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2"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248321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1" name="Text Placeholder 2"/>
          <p:cNvSpPr>
            <a:spLocks noGrp="1"/>
          </p:cNvSpPr>
          <p:nvPr>
            <p:ph type="body" sz="quarter" idx="24"/>
            <p:custDataLst>
              <p:tags r:id="rId1"/>
            </p:custDataLst>
          </p:nvPr>
        </p:nvSpPr>
        <p:spPr>
          <a:xfrm>
            <a:off x="366712" y="1290279"/>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2" name="Text Placeholder 2"/>
          <p:cNvSpPr>
            <a:spLocks noGrp="1"/>
          </p:cNvSpPr>
          <p:nvPr>
            <p:ph type="body" sz="quarter" idx="25"/>
            <p:custDataLst>
              <p:tags r:id="rId2"/>
            </p:custDataLst>
          </p:nvPr>
        </p:nvSpPr>
        <p:spPr>
          <a:xfrm>
            <a:off x="366712" y="1933675"/>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3" name="Text Placeholder 2"/>
          <p:cNvSpPr>
            <a:spLocks noGrp="1"/>
          </p:cNvSpPr>
          <p:nvPr>
            <p:ph type="body" sz="quarter" idx="26"/>
            <p:custDataLst>
              <p:tags r:id="rId3"/>
            </p:custDataLst>
          </p:nvPr>
        </p:nvSpPr>
        <p:spPr>
          <a:xfrm>
            <a:off x="366712" y="2577071"/>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4" name="Text Placeholder 2"/>
          <p:cNvSpPr>
            <a:spLocks noGrp="1"/>
          </p:cNvSpPr>
          <p:nvPr>
            <p:ph type="body" sz="quarter" idx="27"/>
            <p:custDataLst>
              <p:tags r:id="rId4"/>
            </p:custDataLst>
          </p:nvPr>
        </p:nvSpPr>
        <p:spPr>
          <a:xfrm>
            <a:off x="366712" y="3220467"/>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5" name="Text Placeholder 2"/>
          <p:cNvSpPr>
            <a:spLocks noGrp="1"/>
          </p:cNvSpPr>
          <p:nvPr>
            <p:ph type="body" sz="quarter" idx="28"/>
            <p:custDataLst>
              <p:tags r:id="rId5"/>
            </p:custDataLst>
          </p:nvPr>
        </p:nvSpPr>
        <p:spPr>
          <a:xfrm>
            <a:off x="366712" y="3863863"/>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6" name="Text Placeholder 2"/>
          <p:cNvSpPr>
            <a:spLocks noGrp="1"/>
          </p:cNvSpPr>
          <p:nvPr>
            <p:ph type="body" sz="quarter" idx="29"/>
            <p:custDataLst>
              <p:tags r:id="rId6"/>
            </p:custDataLst>
          </p:nvPr>
        </p:nvSpPr>
        <p:spPr>
          <a:xfrm>
            <a:off x="366712" y="4507258"/>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7" name="Text Placeholder 2"/>
          <p:cNvSpPr>
            <a:spLocks noGrp="1"/>
          </p:cNvSpPr>
          <p:nvPr>
            <p:ph type="body" sz="quarter" idx="30"/>
            <p:custDataLst>
              <p:tags r:id="rId7"/>
            </p:custDataLst>
          </p:nvPr>
        </p:nvSpPr>
        <p:spPr>
          <a:xfrm>
            <a:off x="366712" y="5150652"/>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2" name="Title 1"/>
          <p:cNvSpPr>
            <a:spLocks noGrp="1"/>
          </p:cNvSpPr>
          <p:nvPr>
            <p:ph type="title"/>
          </p:nvPr>
        </p:nvSpPr>
        <p:spPr>
          <a:xfrm>
            <a:off x="363538" y="629512"/>
            <a:ext cx="8432800" cy="347472"/>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pPr>
              <a:defRPr/>
            </a:pPr>
            <a:fld id="{91D03FF3-2B9E-4617-A592-48F56EC63E6E}" type="slidenum">
              <a:rPr lang="en-US">
                <a:solidFill>
                  <a:srgbClr val="38454F"/>
                </a:solidFill>
              </a:rPr>
              <a:pPr>
                <a:defRPr/>
              </a:pPr>
              <a:t>‹#›</a:t>
            </a:fld>
            <a:endParaRPr lang="en-US" dirty="0">
              <a:solidFill>
                <a:srgbClr val="38454F"/>
              </a:solidFill>
            </a:endParaRPr>
          </a:p>
        </p:txBody>
      </p:sp>
      <p:sp>
        <p:nvSpPr>
          <p:cNvPr id="61" name="Text Placeholder 60"/>
          <p:cNvSpPr>
            <a:spLocks noGrp="1"/>
          </p:cNvSpPr>
          <p:nvPr>
            <p:ph type="body" sz="quarter" idx="12" hasCustomPrompt="1"/>
          </p:nvPr>
        </p:nvSpPr>
        <p:spPr>
          <a:xfrm>
            <a:off x="366713" y="1290279"/>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lvl1pPr marL="0" indent="0">
              <a:buFont typeface="Arial" panose="020B0604020202020204" pitchFamily="34" charset="0"/>
              <a:buChar char="​"/>
              <a:defRPr lang="en-US" sz="2400" b="1" dirty="0" smtClean="0">
                <a:solidFill>
                  <a:schemeClr val="bg1"/>
                </a:solidFill>
                <a:latin typeface="Arial" panose="020B0604020202020204" pitchFamily="34" charset="0"/>
                <a:cs typeface="Arial" panose="020B0604020202020204" pitchFamily="34" charset="0"/>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marL="1595437" indent="0">
              <a:buNone/>
              <a:defRPr lang="en-US" dirty="0">
                <a:solidFill>
                  <a:schemeClr val="lt1"/>
                </a:solidFill>
              </a:defRPr>
            </a:lvl5pPr>
          </a:lstStyle>
          <a:p>
            <a:pPr lvl="0" algn="ctr">
              <a:spcBef>
                <a:spcPct val="0"/>
              </a:spcBef>
            </a:pPr>
            <a:r>
              <a:rPr lang="en-US" dirty="0"/>
              <a:t>#</a:t>
            </a:r>
          </a:p>
        </p:txBody>
      </p:sp>
      <p:sp>
        <p:nvSpPr>
          <p:cNvPr id="63" name="Text Placeholder 60"/>
          <p:cNvSpPr>
            <a:spLocks noGrp="1"/>
          </p:cNvSpPr>
          <p:nvPr>
            <p:ph type="body" sz="quarter" idx="13" hasCustomPrompt="1"/>
          </p:nvPr>
        </p:nvSpPr>
        <p:spPr>
          <a:xfrm>
            <a:off x="366713" y="1934469"/>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4" name="Text Placeholder 60"/>
          <p:cNvSpPr>
            <a:spLocks noGrp="1"/>
          </p:cNvSpPr>
          <p:nvPr>
            <p:ph type="body" sz="quarter" idx="14" hasCustomPrompt="1"/>
          </p:nvPr>
        </p:nvSpPr>
        <p:spPr>
          <a:xfrm>
            <a:off x="366713" y="25778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5" name="Text Placeholder 60"/>
          <p:cNvSpPr>
            <a:spLocks noGrp="1"/>
          </p:cNvSpPr>
          <p:nvPr>
            <p:ph type="body" sz="quarter" idx="15" hasCustomPrompt="1"/>
          </p:nvPr>
        </p:nvSpPr>
        <p:spPr>
          <a:xfrm>
            <a:off x="366713" y="32214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6" name="Text Placeholder 60"/>
          <p:cNvSpPr>
            <a:spLocks noGrp="1"/>
          </p:cNvSpPr>
          <p:nvPr>
            <p:ph type="body" sz="quarter" idx="16" hasCustomPrompt="1"/>
          </p:nvPr>
        </p:nvSpPr>
        <p:spPr>
          <a:xfrm>
            <a:off x="366713" y="38650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7" name="Text Placeholder 60"/>
          <p:cNvSpPr>
            <a:spLocks noGrp="1"/>
          </p:cNvSpPr>
          <p:nvPr>
            <p:ph type="body" sz="quarter" idx="17" hasCustomPrompt="1"/>
          </p:nvPr>
        </p:nvSpPr>
        <p:spPr>
          <a:xfrm>
            <a:off x="366713" y="45086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8" name="Text Placeholder 60"/>
          <p:cNvSpPr>
            <a:spLocks noGrp="1"/>
          </p:cNvSpPr>
          <p:nvPr>
            <p:ph type="body" sz="quarter" idx="18" hasCustomPrompt="1"/>
          </p:nvPr>
        </p:nvSpPr>
        <p:spPr>
          <a:xfrm>
            <a:off x="366713" y="5152240"/>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Tree>
    <p:extLst>
      <p:ext uri="{BB962C8B-B14F-4D97-AF65-F5344CB8AC3E}">
        <p14:creationId xmlns:p14="http://schemas.microsoft.com/office/powerpoint/2010/main" val="1699479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432800" cy="347472"/>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pPr>
              <a:defRPr/>
            </a:pPr>
            <a:fld id="{91D03FF3-2B9E-4617-A592-48F56EC63E6E}" type="slidenum">
              <a:rPr lang="en-US">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402523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5"/>
          <p:cNvSpPr>
            <a:spLocks noGrp="1" noChangeAspect="1"/>
          </p:cNvSpPr>
          <p:nvPr>
            <p:ph type="sldNum" sz="quarter" idx="11"/>
          </p:nvPr>
        </p:nvSpPr>
        <p:spPr/>
        <p:txBody>
          <a:bodyPr/>
          <a:lstStyle>
            <a:lvl1pPr>
              <a:defRPr/>
            </a:lvl1pPr>
          </a:lstStyle>
          <a:p>
            <a:pPr>
              <a:defRPr/>
            </a:pPr>
            <a:fld id="{0EE25AFF-DC43-4D65-915F-22B9B4081F3B}" type="slidenum">
              <a:rPr lang="en-US">
                <a:solidFill>
                  <a:srgbClr val="4D4D4F"/>
                </a:solidFill>
              </a:rPr>
              <a:pPr>
                <a:defRPr/>
              </a:pPr>
              <a:t>‹#›</a:t>
            </a:fld>
            <a:endParaRPr lang="en-US" dirty="0">
              <a:solidFill>
                <a:srgbClr val="4D4D4F"/>
              </a:solidFill>
            </a:endParaRPr>
          </a:p>
        </p:txBody>
      </p:sp>
    </p:spTree>
    <p:extLst>
      <p:ext uri="{BB962C8B-B14F-4D97-AF65-F5344CB8AC3E}">
        <p14:creationId xmlns:p14="http://schemas.microsoft.com/office/powerpoint/2010/main" val="4228857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432800" cy="347472"/>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pPr>
              <a:defRPr/>
            </a:pPr>
            <a:fld id="{91D03FF3-2B9E-4617-A592-48F56EC63E6E}" type="slidenum">
              <a:rPr lang="en-US" noProof="0" smtClean="0"/>
              <a:pPr>
                <a:defRPr/>
              </a:pPr>
              <a:t>‹#›</a:t>
            </a:fld>
            <a:endParaRPr lang="en-US" noProof="0" dirty="0"/>
          </a:p>
        </p:txBody>
      </p:sp>
    </p:spTree>
    <p:extLst>
      <p:ext uri="{BB962C8B-B14F-4D97-AF65-F5344CB8AC3E}">
        <p14:creationId xmlns:p14="http://schemas.microsoft.com/office/powerpoint/2010/main" val="640032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lvl1pPr>
              <a:defRPr>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a:solidFill>
                  <a:srgbClr val="38454F"/>
                </a:solidFill>
              </a:rPr>
              <a:pPr/>
              <a:t>‹#›</a:t>
            </a:fld>
            <a:endParaRPr lang="en-US">
              <a:solidFill>
                <a:srgbClr val="38454F"/>
              </a:solidFill>
            </a:endParaRPr>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solidFill>
                  <a:schemeClr val="accent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1844434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with Tab">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lvl1pPr>
              <a:defRPr>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a:solidFill>
                  <a:srgbClr val="38454F"/>
                </a:solidFill>
              </a:rPr>
              <a:pPr/>
              <a:t>‹#›</a:t>
            </a:fld>
            <a:endParaRPr lang="en-US">
              <a:solidFill>
                <a:srgbClr val="38454F"/>
              </a:solidFill>
            </a:endParaRPr>
          </a:p>
        </p:txBody>
      </p:sp>
      <p:sp>
        <p:nvSpPr>
          <p:cNvPr id="5" name="Flowchart: Data 4"/>
          <p:cNvSpPr/>
          <p:nvPr userDrawn="1"/>
        </p:nvSpPr>
        <p:spPr bwMode="auto">
          <a:xfrm>
            <a:off x="0" y="0"/>
            <a:ext cx="3558474" cy="461430"/>
          </a:xfrm>
          <a:custGeom>
            <a:avLst/>
            <a:gdLst/>
            <a:ahLst/>
            <a:cxnLst/>
            <a:rect l="l" t="t" r="r" b="b"/>
            <a:pathLst>
              <a:path w="3558474" h="461430">
                <a:moveTo>
                  <a:pt x="0" y="0"/>
                </a:moveTo>
                <a:lnTo>
                  <a:pt x="3558474" y="0"/>
                </a:lnTo>
                <a:lnTo>
                  <a:pt x="3294039" y="461430"/>
                </a:lnTo>
                <a:lnTo>
                  <a:pt x="0" y="461430"/>
                </a:lnTo>
                <a:close/>
              </a:path>
            </a:pathLst>
          </a:custGeom>
          <a:solidFill>
            <a:schemeClr val="accent1"/>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9" name="Text Placeholder 8"/>
          <p:cNvSpPr>
            <a:spLocks noGrp="1"/>
          </p:cNvSpPr>
          <p:nvPr>
            <p:ph type="body" sz="quarter" idx="13"/>
          </p:nvPr>
        </p:nvSpPr>
        <p:spPr>
          <a:xfrm>
            <a:off x="371475" y="0"/>
            <a:ext cx="3008313" cy="461963"/>
          </a:xfrm>
        </p:spPr>
        <p:txBody>
          <a:bodyPr anchor="ctr" anchorCtr="0">
            <a:noAutofit/>
          </a:bodyPr>
          <a:lstStyle>
            <a:lvl1pPr marL="0" indent="0" algn="l">
              <a:buNone/>
              <a:defRPr sz="1400" b="0">
                <a:solidFill>
                  <a:schemeClr val="bg1"/>
                </a:solidFill>
              </a:defRPr>
            </a:lvl1pPr>
            <a:lvl2pPr>
              <a:defRPr sz="1100" b="0">
                <a:solidFill>
                  <a:schemeClr val="bg1"/>
                </a:solidFill>
              </a:defRPr>
            </a:lvl2pPr>
            <a:lvl3pPr>
              <a:defRPr sz="1100" b="0">
                <a:solidFill>
                  <a:schemeClr val="bg1"/>
                </a:solidFill>
              </a:defRPr>
            </a:lvl3pPr>
            <a:lvl4pPr>
              <a:defRPr sz="1100" b="0">
                <a:solidFill>
                  <a:schemeClr val="bg1"/>
                </a:solidFill>
              </a:defRPr>
            </a:lvl4pPr>
            <a:lvl5pPr>
              <a:defRPr sz="1100" b="0">
                <a:solidFill>
                  <a:schemeClr val="bg1"/>
                </a:solidFill>
              </a:defRPr>
            </a:lvl5pPr>
          </a:lstStyle>
          <a:p>
            <a:pPr lvl="0"/>
            <a:r>
              <a:rPr lang="en-US"/>
              <a:t>Click to edit Master text styles</a:t>
            </a:r>
          </a:p>
        </p:txBody>
      </p:sp>
      <p:sp>
        <p:nvSpPr>
          <p:cNvPr id="13" name="Text Placeholder 12"/>
          <p:cNvSpPr>
            <a:spLocks noGrp="1"/>
          </p:cNvSpPr>
          <p:nvPr>
            <p:ph type="body" sz="quarter" idx="14"/>
          </p:nvPr>
        </p:nvSpPr>
        <p:spPr>
          <a:xfrm>
            <a:off x="371475" y="996026"/>
            <a:ext cx="8538845" cy="276999"/>
          </a:xfrm>
        </p:spPr>
        <p:txBody>
          <a:bodyPr wrap="square">
            <a:spAutoFit/>
          </a:bodyPr>
          <a:lstStyle>
            <a:lvl1pPr marL="0" indent="0">
              <a:buNone/>
              <a:defRPr b="0">
                <a:solidFill>
                  <a:schemeClr val="accent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363230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4038600" cy="4343400"/>
          </a:xfrm>
        </p:spPr>
        <p:txBody>
          <a:bodyPr/>
          <a:lstStyle>
            <a:lvl1pPr marL="0" indent="0">
              <a:spcBef>
                <a:spcPts val="0"/>
              </a:spcBef>
              <a:spcAft>
                <a:spcPts val="600"/>
              </a:spcAft>
              <a:buFont typeface="Arial" panose="020B0604020202020204" pitchFamily="34" charset="0"/>
              <a:buChar char="​"/>
              <a:defRPr sz="1600" b="1">
                <a:solidFill>
                  <a:schemeClr val="accent1"/>
                </a:solidFill>
              </a:defRPr>
            </a:lvl1pPr>
            <a:lvl2pPr marL="233363" indent="-233363">
              <a:defRPr sz="1400"/>
            </a:lvl2pPr>
            <a:lvl3pPr marL="457200" indent="-223838">
              <a:buFont typeface="Arial" panose="020B0604020202020204" pitchFamily="34" charset="0"/>
              <a:buChar char="»"/>
              <a:defRPr sz="1400"/>
            </a:lvl3pPr>
            <a:lvl4pPr marL="690563" indent="-233363">
              <a:defRPr sz="1200"/>
            </a:lvl4pPr>
            <a:lvl5pPr marL="974725" indent="-284163">
              <a:defRPr sz="1200"/>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4586288" y="1206500"/>
            <a:ext cx="4041648" cy="4343400"/>
          </a:xfrm>
        </p:spPr>
        <p:txBody>
          <a:bodyPr/>
          <a:lstStyle>
            <a:lvl1pPr marL="0" indent="0">
              <a:spcBef>
                <a:spcPts val="0"/>
              </a:spcBef>
              <a:spcAft>
                <a:spcPts val="600"/>
              </a:spcAft>
              <a:buFont typeface="Arial" panose="020B0604020202020204" pitchFamily="34" charset="0"/>
              <a:buChar char="​"/>
              <a:defRPr sz="1600" b="1">
                <a:solidFill>
                  <a:schemeClr val="accent1"/>
                </a:solidFill>
              </a:defRPr>
            </a:lvl1pPr>
            <a:lvl2pPr marL="233363" indent="-233363">
              <a:defRPr sz="1400"/>
            </a:lvl2pPr>
            <a:lvl3pPr marL="457200" indent="-223838">
              <a:defRPr sz="1400"/>
            </a:lvl3pPr>
            <a:lvl4pPr marL="690563" indent="-233363">
              <a:defRPr sz="1200"/>
            </a:lvl4pPr>
            <a:lvl5pPr marL="969963" indent="-2794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2720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2725102" cy="4343400"/>
          </a:xfrm>
        </p:spPr>
        <p:txBody>
          <a:bodyPr/>
          <a:lstStyle>
            <a:lvl1pPr marL="0" indent="0">
              <a:spcBef>
                <a:spcPts val="0"/>
              </a:spcBef>
              <a:spcAft>
                <a:spcPts val="600"/>
              </a:spcAft>
              <a:buFont typeface="Arial" panose="020B0604020202020204" pitchFamily="34" charset="0"/>
              <a:buChar char="​"/>
              <a:defRPr sz="1600" b="1">
                <a:solidFill>
                  <a:schemeClr val="accent1"/>
                </a:solidFill>
              </a:defRPr>
            </a:lvl1pPr>
            <a:lvl2pPr marL="233363" indent="-233363">
              <a:defRPr sz="1400"/>
            </a:lvl2pPr>
            <a:lvl3pPr marL="457200" indent="-223838">
              <a:buFont typeface="Arial" panose="020B0604020202020204" pitchFamily="34" charset="0"/>
              <a:buChar char="»"/>
              <a:defRPr sz="1400"/>
            </a:lvl3pPr>
            <a:lvl4pPr marL="690563" indent="-233363">
              <a:defRPr sz="1200"/>
            </a:lvl4pPr>
            <a:lvl5pPr marL="974725" indent="-284163">
              <a:defRPr sz="1200"/>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5" name="Content Placeholder 4"/>
          <p:cNvSpPr>
            <a:spLocks noGrp="1"/>
          </p:cNvSpPr>
          <p:nvPr>
            <p:ph sz="quarter" idx="17"/>
          </p:nvPr>
        </p:nvSpPr>
        <p:spPr>
          <a:xfrm>
            <a:off x="3217482" y="1206500"/>
            <a:ext cx="2724912" cy="4338638"/>
          </a:xfrm>
        </p:spPr>
        <p:txBody>
          <a:bodyPr/>
          <a:lstStyle>
            <a:lvl1pPr marL="0" indent="0">
              <a:spcBef>
                <a:spcPts val="0"/>
              </a:spcBef>
              <a:spcAft>
                <a:spcPts val="600"/>
              </a:spcAft>
              <a:buFont typeface="Arial" panose="020B0604020202020204" pitchFamily="34" charset="0"/>
              <a:buChar char="​"/>
              <a:defRPr sz="1600" b="1">
                <a:solidFill>
                  <a:schemeClr val="accent1"/>
                </a:solidFill>
              </a:defRPr>
            </a:lvl1pPr>
            <a:lvl2pPr marL="233363" indent="-233363">
              <a:defRPr sz="1400"/>
            </a:lvl2pPr>
            <a:lvl3pPr marL="457200" indent="-223838">
              <a:defRPr sz="1400"/>
            </a:lvl3pPr>
            <a:lvl4pPr marL="690563" indent="-233363">
              <a:defRPr sz="1200"/>
            </a:lvl4pPr>
            <a:lvl5pPr marL="914400" indent="-223838">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8"/>
          </p:nvPr>
        </p:nvSpPr>
        <p:spPr>
          <a:xfrm>
            <a:off x="6071235" y="1206500"/>
            <a:ext cx="2736850" cy="4357688"/>
          </a:xfrm>
        </p:spPr>
        <p:txBody>
          <a:bodyPr/>
          <a:lstStyle>
            <a:lvl1pPr marL="0" indent="0">
              <a:spcBef>
                <a:spcPts val="0"/>
              </a:spcBef>
              <a:spcAft>
                <a:spcPts val="600"/>
              </a:spcAft>
              <a:buFont typeface="Arial" panose="020B0604020202020204" pitchFamily="34" charset="0"/>
              <a:buChar char="​"/>
              <a:defRPr sz="1600" b="1">
                <a:solidFill>
                  <a:schemeClr val="accent1"/>
                </a:solidFill>
              </a:defRPr>
            </a:lvl1pPr>
            <a:lvl2pPr marL="233363" indent="-233363">
              <a:defRPr sz="1400"/>
            </a:lvl2pPr>
            <a:lvl3pPr marL="457200" indent="-223838">
              <a:defRPr sz="1400"/>
            </a:lvl3pPr>
            <a:lvl4pPr marL="690563" indent="-233363">
              <a:defRPr sz="1200"/>
            </a:lvl4pPr>
            <a:lvl5pPr marL="914400" indent="-223838">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5765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Subhead with Chart">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a:solidFill>
                  <a:srgbClr val="38454F"/>
                </a:solidFill>
              </a:rPr>
              <a:pPr/>
              <a:t>‹#›</a:t>
            </a:fld>
            <a:endParaRPr lang="en-US">
              <a:solidFill>
                <a:srgbClr val="38454F"/>
              </a:solidFill>
            </a:endParaRPr>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solidFill>
                  <a:schemeClr val="accent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7" name="Chart Placeholder 6"/>
          <p:cNvSpPr>
            <a:spLocks noGrp="1"/>
          </p:cNvSpPr>
          <p:nvPr>
            <p:ph type="chart" sz="quarter" idx="15"/>
          </p:nvPr>
        </p:nvSpPr>
        <p:spPr>
          <a:xfrm>
            <a:off x="806497" y="1711708"/>
            <a:ext cx="7559581" cy="4064060"/>
          </a:xfrm>
        </p:spPr>
        <p:txBody>
          <a:bodyPr/>
          <a:lstStyle>
            <a:lvl1pPr marL="0" indent="0">
              <a:buNone/>
              <a:defRPr/>
            </a:lvl1pPr>
          </a:lstStyle>
          <a:p>
            <a:r>
              <a:rPr lang="en-US"/>
              <a:t>Click icon to add chart</a:t>
            </a:r>
          </a:p>
        </p:txBody>
      </p:sp>
    </p:spTree>
    <p:extLst>
      <p:ext uri="{BB962C8B-B14F-4D97-AF65-F5344CB8AC3E}">
        <p14:creationId xmlns:p14="http://schemas.microsoft.com/office/powerpoint/2010/main" val="4060944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4069080" cy="3805238"/>
          </a:xfrm>
        </p:spPr>
        <p:txBody>
          <a:bodyPr vert="horz" lIns="0" tIns="0" rIns="0" bIns="0" rtlCol="0">
            <a:noAutofit/>
          </a:bodyPr>
          <a:lstStyle>
            <a:lvl1pPr>
              <a:buClr>
                <a:schemeClr val="accent1"/>
              </a:buClr>
              <a:defRPr lang="en-US" sz="1800" b="0" noProof="0" dirty="0" smtClean="0">
                <a:solidFill>
                  <a:schemeClr val="tx1"/>
                </a:solidFill>
              </a:defRPr>
            </a:lvl1pPr>
            <a:lvl2pPr>
              <a:buClr>
                <a:schemeClr val="accent1"/>
              </a:buClr>
              <a:defRPr lang="en-US" sz="1600" noProof="0" dirty="0" smtClean="0"/>
            </a:lvl2pPr>
            <a:lvl3pPr>
              <a:buClr>
                <a:schemeClr val="accent1"/>
              </a:buClr>
              <a:defRPr lang="en-US" sz="1600" noProof="0" dirty="0" smtClean="0"/>
            </a:lvl3pPr>
            <a:lvl4pPr>
              <a:buClr>
                <a:schemeClr val="accent1"/>
              </a:buClr>
              <a:defRPr lang="en-US" sz="1400" noProof="0" dirty="0" smtClean="0"/>
            </a:lvl4pPr>
            <a:lvl5pPr>
              <a:buClr>
                <a:schemeClr val="accent1"/>
              </a:buClr>
              <a:defRPr lang="en-US" sz="14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4700207" y="2330450"/>
            <a:ext cx="4069080" cy="3805238"/>
          </a:xfrm>
        </p:spPr>
        <p:txBody>
          <a:bodyPr vert="horz" lIns="0" tIns="0" rIns="0" bIns="0" rtlCol="0">
            <a:noAutofit/>
          </a:bodyPr>
          <a:lstStyle>
            <a:lvl1pPr>
              <a:buClr>
                <a:schemeClr val="accent1"/>
              </a:buClr>
              <a:defRPr lang="en-US" sz="1800" b="0" dirty="0" smtClean="0">
                <a:solidFill>
                  <a:schemeClr val="tx1"/>
                </a:solidFill>
              </a:defRPr>
            </a:lvl1pPr>
            <a:lvl2pPr>
              <a:buClr>
                <a:schemeClr val="accent1"/>
              </a:buClr>
              <a:defRPr lang="en-US" sz="1600" dirty="0" smtClean="0"/>
            </a:lvl2pPr>
            <a:lvl3pPr>
              <a:buClr>
                <a:schemeClr val="accent1"/>
              </a:buClr>
              <a:defRPr lang="en-US" sz="1600" dirty="0" smtClean="0"/>
            </a:lvl3pPr>
            <a:lvl4pPr>
              <a:buClr>
                <a:schemeClr val="accent1"/>
              </a:buClr>
              <a:defRPr lang="en-US" sz="1400" dirty="0" smtClean="0"/>
            </a:lvl4pPr>
            <a:lvl5pPr>
              <a:buClr>
                <a:schemeClr val="accent1"/>
              </a:buCl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46051"/>
            <a:ext cx="4069080" cy="556634"/>
          </a:xfrm>
          <a:prstGeom prst="rect">
            <a:avLst/>
          </a:prstGeom>
          <a:solidFill>
            <a:schemeClr val="accent2"/>
          </a:solidFill>
        </p:spPr>
        <p:txBody>
          <a:bodyPr lIns="45720" tIns="45720" rIns="45720" bIns="45720" anchor="ctr"/>
          <a:lstStyle>
            <a:lvl1pPr marL="4763" indent="0" algn="ctr">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4700207" y="1646051"/>
            <a:ext cx="4069080" cy="556634"/>
          </a:xfrm>
          <a:prstGeom prst="rect">
            <a:avLst/>
          </a:prstGeom>
          <a:solidFill>
            <a:schemeClr val="accent2"/>
          </a:solidFill>
        </p:spPr>
        <p:txBody>
          <a:bodyPr lIns="45720" tIns="45720" rIns="45720" bIns="45720" anchor="ctr"/>
          <a:lstStyle>
            <a:lvl1pPr marL="0" indent="0" algn="ctr">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solidFill>
                  <a:schemeClr val="accent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3769270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8" name="Text Placeholder 2"/>
          <p:cNvSpPr>
            <a:spLocks noGrp="1"/>
          </p:cNvSpPr>
          <p:nvPr>
            <p:ph type="body" sz="quarter" idx="24"/>
            <p:custDataLst>
              <p:tags r:id="rId1"/>
            </p:custDataLst>
          </p:nvPr>
        </p:nvSpPr>
        <p:spPr>
          <a:xfrm>
            <a:off x="366713"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solidFill>
                  <a:schemeClr val="accent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11"/>
          <p:cNvSpPr>
            <a:spLocks noGrp="1"/>
          </p:cNvSpPr>
          <p:nvPr>
            <p:ph sz="quarter" idx="25"/>
          </p:nvPr>
        </p:nvSpPr>
        <p:spPr>
          <a:xfrm>
            <a:off x="3254777"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2"/>
          <p:cNvSpPr>
            <a:spLocks noGrp="1"/>
          </p:cNvSpPr>
          <p:nvPr>
            <p:ph type="body" sz="quarter" idx="26"/>
            <p:custDataLst>
              <p:tags r:id="rId2"/>
            </p:custDataLst>
          </p:nvPr>
        </p:nvSpPr>
        <p:spPr>
          <a:xfrm>
            <a:off x="3257952"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
        <p:nvSpPr>
          <p:cNvPr id="14" name="Content Placeholder 11"/>
          <p:cNvSpPr>
            <a:spLocks noGrp="1"/>
          </p:cNvSpPr>
          <p:nvPr>
            <p:ph sz="quarter" idx="27"/>
          </p:nvPr>
        </p:nvSpPr>
        <p:spPr>
          <a:xfrm>
            <a:off x="6146016"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2"/>
          <p:cNvSpPr>
            <a:spLocks noGrp="1"/>
          </p:cNvSpPr>
          <p:nvPr>
            <p:ph type="body" sz="quarter" idx="28"/>
            <p:custDataLst>
              <p:tags r:id="rId3"/>
            </p:custDataLst>
          </p:nvPr>
        </p:nvSpPr>
        <p:spPr>
          <a:xfrm>
            <a:off x="6149191"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99534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1920240" cy="3805238"/>
          </a:xfrm>
        </p:spPr>
        <p:txBody>
          <a:bodyPr vert="horz" lIns="0" tIns="0" rIns="0" bIns="0" rtlCol="0">
            <a:noAutofit/>
          </a:bodyPr>
          <a:lstStyle>
            <a:lvl1pPr>
              <a:buClr>
                <a:schemeClr val="accent1"/>
              </a:buClr>
              <a:defRPr lang="en-US" sz="1400" b="0" noProof="0" dirty="0" smtClean="0">
                <a:solidFill>
                  <a:schemeClr val="tx1"/>
                </a:solidFill>
              </a:defRPr>
            </a:lvl1pPr>
            <a:lvl2pPr>
              <a:buClr>
                <a:schemeClr val="accent1"/>
              </a:buClr>
              <a:defRPr lang="en-US" sz="1400" noProof="0" dirty="0" smtClean="0"/>
            </a:lvl2pPr>
            <a:lvl3pPr>
              <a:buClr>
                <a:schemeClr val="accent1"/>
              </a:buClr>
              <a:defRPr lang="en-US" sz="1400" noProof="0" dirty="0" smtClean="0"/>
            </a:lvl3pPr>
            <a:lvl4pPr>
              <a:buClr>
                <a:schemeClr val="accent1"/>
              </a:buClr>
              <a:defRPr lang="en-US" sz="1200" noProof="0" dirty="0" smtClean="0"/>
            </a:lvl4pPr>
            <a:lvl5pPr>
              <a:buClr>
                <a:schemeClr val="accent1"/>
              </a:buCl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8" name="Text Placeholder 2"/>
          <p:cNvSpPr>
            <a:spLocks noGrp="1"/>
          </p:cNvSpPr>
          <p:nvPr>
            <p:ph type="body" sz="quarter" idx="24"/>
            <p:custDataLst>
              <p:tags r:id="rId1"/>
            </p:custDataLst>
          </p:nvPr>
        </p:nvSpPr>
        <p:spPr>
          <a:xfrm>
            <a:off x="363538"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solidFill>
                  <a:schemeClr val="accent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11"/>
          <p:cNvSpPr>
            <a:spLocks noGrp="1"/>
          </p:cNvSpPr>
          <p:nvPr>
            <p:ph sz="quarter" idx="25"/>
          </p:nvPr>
        </p:nvSpPr>
        <p:spPr>
          <a:xfrm>
            <a:off x="2524655" y="2330450"/>
            <a:ext cx="1920240" cy="3805238"/>
          </a:xfrm>
        </p:spPr>
        <p:txBody>
          <a:bodyPr vert="horz" lIns="0" tIns="0" rIns="0" bIns="0" rtlCol="0">
            <a:noAutofit/>
          </a:bodyPr>
          <a:lstStyle>
            <a:lvl1pPr>
              <a:buClr>
                <a:schemeClr val="accent1"/>
              </a:buClr>
              <a:defRPr lang="en-US" sz="1400" b="0" noProof="0" dirty="0" smtClean="0">
                <a:solidFill>
                  <a:schemeClr val="tx1"/>
                </a:solidFill>
              </a:defRPr>
            </a:lvl1pPr>
            <a:lvl2pPr>
              <a:buClr>
                <a:schemeClr val="accent1"/>
              </a:buClr>
              <a:defRPr lang="en-US" sz="1400" noProof="0" dirty="0" smtClean="0"/>
            </a:lvl2pPr>
            <a:lvl3pPr>
              <a:buClr>
                <a:schemeClr val="accent1"/>
              </a:buClr>
              <a:defRPr lang="en-US" sz="1400" noProof="0" dirty="0" smtClean="0"/>
            </a:lvl3pPr>
            <a:lvl4pPr>
              <a:buClr>
                <a:schemeClr val="accent1"/>
              </a:buClr>
              <a:defRPr lang="en-US" sz="1200" noProof="0" dirty="0" smtClean="0"/>
            </a:lvl4pPr>
            <a:lvl5pPr>
              <a:buClr>
                <a:schemeClr val="accent1"/>
              </a:buCl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2"/>
          <p:cNvSpPr>
            <a:spLocks noGrp="1"/>
          </p:cNvSpPr>
          <p:nvPr>
            <p:ph type="body" sz="quarter" idx="26"/>
            <p:custDataLst>
              <p:tags r:id="rId2"/>
            </p:custDataLst>
          </p:nvPr>
        </p:nvSpPr>
        <p:spPr>
          <a:xfrm>
            <a:off x="2525713"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4" name="Content Placeholder 11"/>
          <p:cNvSpPr>
            <a:spLocks noGrp="1"/>
          </p:cNvSpPr>
          <p:nvPr>
            <p:ph sz="quarter" idx="27"/>
          </p:nvPr>
        </p:nvSpPr>
        <p:spPr>
          <a:xfrm>
            <a:off x="4685772" y="2330450"/>
            <a:ext cx="1920240" cy="3805238"/>
          </a:xfrm>
        </p:spPr>
        <p:txBody>
          <a:bodyPr vert="horz" lIns="0" tIns="0" rIns="0" bIns="0" rtlCol="0">
            <a:noAutofit/>
          </a:bodyPr>
          <a:lstStyle>
            <a:lvl1pPr>
              <a:buClr>
                <a:schemeClr val="accent1"/>
              </a:buClr>
              <a:defRPr lang="en-US" sz="1400" b="0" noProof="0" dirty="0" smtClean="0">
                <a:solidFill>
                  <a:schemeClr val="tx1"/>
                </a:solidFill>
              </a:defRPr>
            </a:lvl1pPr>
            <a:lvl2pPr>
              <a:buClr>
                <a:schemeClr val="accent1"/>
              </a:buClr>
              <a:defRPr lang="en-US" sz="1400" noProof="0" dirty="0" smtClean="0"/>
            </a:lvl2pPr>
            <a:lvl3pPr>
              <a:buClr>
                <a:schemeClr val="accent1"/>
              </a:buClr>
              <a:defRPr lang="en-US" sz="1400" noProof="0" dirty="0" smtClean="0"/>
            </a:lvl3pPr>
            <a:lvl4pPr>
              <a:buClr>
                <a:schemeClr val="accent1"/>
              </a:buClr>
              <a:defRPr lang="en-US" sz="1200" noProof="0" dirty="0" smtClean="0"/>
            </a:lvl4pPr>
            <a:lvl5pPr>
              <a:buClr>
                <a:schemeClr val="accent1"/>
              </a:buCl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2"/>
          <p:cNvSpPr>
            <a:spLocks noGrp="1"/>
          </p:cNvSpPr>
          <p:nvPr>
            <p:ph type="body" sz="quarter" idx="28"/>
            <p:custDataLst>
              <p:tags r:id="rId3"/>
            </p:custDataLst>
          </p:nvPr>
        </p:nvSpPr>
        <p:spPr>
          <a:xfrm>
            <a:off x="4687888"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6" name="Content Placeholder 11"/>
          <p:cNvSpPr>
            <a:spLocks noGrp="1"/>
          </p:cNvSpPr>
          <p:nvPr>
            <p:ph sz="quarter" idx="29"/>
          </p:nvPr>
        </p:nvSpPr>
        <p:spPr>
          <a:xfrm>
            <a:off x="6846888" y="2330450"/>
            <a:ext cx="1920240" cy="3805238"/>
          </a:xfrm>
        </p:spPr>
        <p:txBody>
          <a:bodyPr vert="horz" lIns="0" tIns="0" rIns="0" bIns="0" rtlCol="0">
            <a:noAutofit/>
          </a:bodyPr>
          <a:lstStyle>
            <a:lvl1pPr>
              <a:buClr>
                <a:schemeClr val="accent1"/>
              </a:buClr>
              <a:defRPr lang="en-US" sz="1400" b="0" noProof="0" dirty="0" smtClean="0">
                <a:solidFill>
                  <a:schemeClr val="tx1"/>
                </a:solidFill>
              </a:defRPr>
            </a:lvl1pPr>
            <a:lvl2pPr>
              <a:buClr>
                <a:schemeClr val="accent1"/>
              </a:buClr>
              <a:defRPr lang="en-US" sz="1400" noProof="0" dirty="0" smtClean="0"/>
            </a:lvl2pPr>
            <a:lvl3pPr>
              <a:buClr>
                <a:schemeClr val="accent1"/>
              </a:buClr>
              <a:defRPr lang="en-US" sz="1400" noProof="0" dirty="0" smtClean="0"/>
            </a:lvl3pPr>
            <a:lvl4pPr>
              <a:buClr>
                <a:schemeClr val="accent1"/>
              </a:buClr>
              <a:defRPr lang="en-US" sz="1200" noProof="0" dirty="0" smtClean="0"/>
            </a:lvl4pPr>
            <a:lvl5pPr>
              <a:buClr>
                <a:schemeClr val="accent1"/>
              </a:buCl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Text Placeholder 2"/>
          <p:cNvSpPr>
            <a:spLocks noGrp="1"/>
          </p:cNvSpPr>
          <p:nvPr>
            <p:ph type="body" sz="quarter" idx="30"/>
            <p:custDataLst>
              <p:tags r:id="rId4"/>
            </p:custDataLst>
          </p:nvPr>
        </p:nvSpPr>
        <p:spPr>
          <a:xfrm>
            <a:off x="6850063"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72792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orz 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745632"/>
            <a:ext cx="6158232" cy="2011680"/>
          </a:xfrm>
        </p:spPr>
        <p:txBody>
          <a:bodyPr vert="horz" lIns="0" tIns="0" rIns="0" bIns="0" rtlCol="0">
            <a:noAutofit/>
          </a:bodyPr>
          <a:lstStyle>
            <a:lvl1pPr>
              <a:buClr>
                <a:schemeClr val="accent1"/>
              </a:buClr>
              <a:defRPr lang="en-US" b="0" noProof="0" dirty="0" smtClean="0">
                <a:solidFill>
                  <a:schemeClr val="tx1"/>
                </a:solidFill>
              </a:defRPr>
            </a:lvl1pPr>
            <a:lvl2pPr>
              <a:buClr>
                <a:schemeClr val="accent1"/>
              </a:buClr>
              <a:defRPr lang="en-US" noProof="0" dirty="0" smtClean="0"/>
            </a:lvl2pPr>
            <a:lvl3pPr>
              <a:buClr>
                <a:schemeClr val="accent1"/>
              </a:buClr>
              <a:defRPr lang="en-US" noProof="0" dirty="0" smtClean="0"/>
            </a:lvl3pPr>
            <a:lvl4pPr>
              <a:buClr>
                <a:schemeClr val="accent1"/>
              </a:buClr>
              <a:defRPr lang="en-US" noProof="0" dirty="0" smtClean="0"/>
            </a:lvl4pPr>
            <a:lvl5pPr>
              <a:buClr>
                <a:schemeClr val="accent1"/>
              </a:buClr>
              <a:defRPr lang="en-US"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3888152"/>
            <a:ext cx="6158232" cy="2011680"/>
          </a:xfrm>
        </p:spPr>
        <p:txBody>
          <a:bodyPr vert="horz" lIns="0" tIns="0" rIns="0" bIns="0" rtlCol="0">
            <a:noAutofit/>
          </a:bodyPr>
          <a:lstStyle>
            <a:lvl1pPr>
              <a:buClr>
                <a:schemeClr val="accent1"/>
              </a:buClr>
              <a:defRPr lang="en-US" b="0" dirty="0" smtClean="0">
                <a:solidFill>
                  <a:schemeClr val="tx1"/>
                </a:solidFill>
              </a:defRPr>
            </a:lvl1pPr>
            <a:lvl2pPr>
              <a:buClr>
                <a:schemeClr val="accent1"/>
              </a:buClr>
              <a:defRPr lang="en-US" dirty="0" smtClean="0"/>
            </a:lvl2pPr>
            <a:lvl3pPr>
              <a:buClr>
                <a:schemeClr val="accent1"/>
              </a:buClr>
              <a:defRPr lang="en-US" dirty="0" smtClean="0"/>
            </a:lvl3pPr>
            <a:lvl4pPr>
              <a:buClr>
                <a:schemeClr val="accent1"/>
              </a:buClr>
              <a:defRPr lang="en-US" dirty="0" smtClean="0"/>
            </a:lvl4pPr>
            <a:lvl5pPr>
              <a:buClr>
                <a:schemeClr val="accent1"/>
              </a:buCl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745632"/>
            <a:ext cx="2102167" cy="2011680"/>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888152"/>
            <a:ext cx="2102167" cy="201168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solidFill>
                  <a:schemeClr val="accent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2013682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orz 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46049"/>
            <a:ext cx="6158232" cy="1371600"/>
          </a:xfrm>
        </p:spPr>
        <p:txBody>
          <a:bodyPr vert="horz" lIns="0" tIns="0" rIns="0" bIns="0" rtlCol="0">
            <a:noAutofit/>
          </a:bodyPr>
          <a:lstStyle>
            <a:lvl1pPr>
              <a:buClr>
                <a:schemeClr val="accent1"/>
              </a:buClr>
              <a:defRPr lang="en-US" sz="1600" b="0" noProof="0" dirty="0" smtClean="0">
                <a:solidFill>
                  <a:schemeClr val="tx1"/>
                </a:solidFill>
              </a:defRPr>
            </a:lvl1pPr>
            <a:lvl2pPr>
              <a:buClr>
                <a:schemeClr val="accent1"/>
              </a:buClr>
              <a:defRPr lang="en-US" sz="1400" noProof="0" dirty="0" smtClean="0"/>
            </a:lvl2pPr>
            <a:lvl3pPr>
              <a:buClr>
                <a:schemeClr val="accent1"/>
              </a:buClr>
              <a:defRPr lang="en-US" sz="1400" noProof="0" dirty="0" smtClean="0"/>
            </a:lvl3pPr>
            <a:lvl4pPr>
              <a:buClr>
                <a:schemeClr val="accent1"/>
              </a:buClr>
              <a:defRPr lang="en-US" sz="1200" noProof="0" dirty="0" smtClean="0"/>
            </a:lvl4pPr>
            <a:lvl5pPr>
              <a:buClr>
                <a:schemeClr val="accent1"/>
              </a:buCl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3221600"/>
            <a:ext cx="6158232" cy="1371600"/>
          </a:xfrm>
        </p:spPr>
        <p:txBody>
          <a:bodyPr vert="horz" lIns="0" tIns="0" rIns="0" bIns="0" rtlCol="0">
            <a:noAutofit/>
          </a:bodyPr>
          <a:lstStyle>
            <a:lvl1pPr>
              <a:buClr>
                <a:schemeClr val="accent1"/>
              </a:buClr>
              <a:defRPr lang="en-US" sz="1600" b="0" dirty="0" smtClean="0">
                <a:solidFill>
                  <a:schemeClr val="tx1"/>
                </a:solidFill>
              </a:defRPr>
            </a:lvl1pPr>
            <a:lvl2pPr>
              <a:buClr>
                <a:schemeClr val="accent1"/>
              </a:buClr>
              <a:defRPr lang="en-US" sz="1400" dirty="0" smtClean="0"/>
            </a:lvl2pPr>
            <a:lvl3pPr>
              <a:buClr>
                <a:schemeClr val="accent1"/>
              </a:buClr>
              <a:defRPr lang="en-US" sz="1400" dirty="0" smtClean="0"/>
            </a:lvl3pPr>
            <a:lvl4pPr>
              <a:buClr>
                <a:schemeClr val="accent1"/>
              </a:buClr>
              <a:defRPr lang="en-US" sz="1200" dirty="0" smtClean="0"/>
            </a:lvl4pPr>
            <a:lvl5pPr>
              <a:buClr>
                <a:schemeClr val="accent1"/>
              </a:buCl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46049"/>
            <a:ext cx="2102167" cy="1371600"/>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221601"/>
            <a:ext cx="2102167" cy="137160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solidFill>
                  <a:schemeClr val="accent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4797152"/>
            <a:ext cx="6158232" cy="1371600"/>
          </a:xfrm>
        </p:spPr>
        <p:txBody>
          <a:bodyPr vert="horz" lIns="0" tIns="0" rIns="0" bIns="0" rtlCol="0">
            <a:noAutofit/>
          </a:bodyPr>
          <a:lstStyle>
            <a:lvl1pPr>
              <a:buClr>
                <a:schemeClr val="accent1"/>
              </a:buClr>
              <a:defRPr lang="en-US" sz="1600" b="0" dirty="0" smtClean="0">
                <a:solidFill>
                  <a:schemeClr val="tx1"/>
                </a:solidFill>
              </a:defRPr>
            </a:lvl1pPr>
            <a:lvl2pPr>
              <a:buClr>
                <a:schemeClr val="accent1"/>
              </a:buClr>
              <a:defRPr lang="en-US" sz="1400" dirty="0" smtClean="0"/>
            </a:lvl2pPr>
            <a:lvl3pPr>
              <a:buClr>
                <a:schemeClr val="accent1"/>
              </a:buClr>
              <a:defRPr lang="en-US" sz="1400" dirty="0" smtClean="0"/>
            </a:lvl3pPr>
            <a:lvl4pPr>
              <a:buClr>
                <a:schemeClr val="accent1"/>
              </a:buClr>
              <a:defRPr lang="en-US" sz="1200" dirty="0" smtClean="0"/>
            </a:lvl4pPr>
            <a:lvl5pPr>
              <a:buClr>
                <a:schemeClr val="accent1"/>
              </a:buCl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p:cNvSpPr>
            <a:spLocks noGrp="1"/>
          </p:cNvSpPr>
          <p:nvPr>
            <p:ph type="body" sz="quarter" idx="27"/>
            <p:custDataLst>
              <p:tags r:id="rId3"/>
            </p:custDataLst>
          </p:nvPr>
        </p:nvSpPr>
        <p:spPr>
          <a:xfrm>
            <a:off x="366712" y="4797152"/>
            <a:ext cx="2102167" cy="137160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70272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5"/>
          <p:cNvSpPr>
            <a:spLocks noGrp="1" noChangeAspect="1"/>
          </p:cNvSpPr>
          <p:nvPr>
            <p:ph type="sldNum" sz="quarter" idx="11"/>
          </p:nvPr>
        </p:nvSpPr>
        <p:spPr/>
        <p:txBody>
          <a:bodyPr/>
          <a:lstStyle>
            <a:lvl1pPr>
              <a:defRPr/>
            </a:lvl1pPr>
          </a:lstStyle>
          <a:p>
            <a:pPr>
              <a:defRPr/>
            </a:pPr>
            <a:fld id="{0EE25AFF-DC43-4D65-915F-22B9B4081F3B}" type="slidenum">
              <a:rPr lang="en-US">
                <a:solidFill>
                  <a:srgbClr val="4D4D4F"/>
                </a:solidFill>
              </a:rPr>
              <a:pPr>
                <a:defRPr/>
              </a:pPr>
              <a:t>‹#›</a:t>
            </a:fld>
            <a:endParaRPr lang="en-US" dirty="0">
              <a:solidFill>
                <a:srgbClr val="4D4D4F"/>
              </a:solidFill>
            </a:endParaRPr>
          </a:p>
        </p:txBody>
      </p:sp>
    </p:spTree>
    <p:extLst>
      <p:ext uri="{BB962C8B-B14F-4D97-AF65-F5344CB8AC3E}">
        <p14:creationId xmlns:p14="http://schemas.microsoft.com/office/powerpoint/2010/main" val="355659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orz 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528360"/>
            <a:ext cx="6158232" cy="1046351"/>
          </a:xfrm>
        </p:spPr>
        <p:txBody>
          <a:bodyPr vert="horz" lIns="0" tIns="0" rIns="0" bIns="0" rtlCol="0">
            <a:noAutofit/>
          </a:bodyPr>
          <a:lstStyle>
            <a:lvl1pPr>
              <a:buClr>
                <a:schemeClr val="accent1"/>
              </a:buClr>
              <a:defRPr lang="en-US" sz="1600" b="0" noProof="0" dirty="0" smtClean="0">
                <a:solidFill>
                  <a:schemeClr val="tx1"/>
                </a:solidFill>
              </a:defRPr>
            </a:lvl1pPr>
            <a:lvl2pPr>
              <a:buClr>
                <a:schemeClr val="accent1"/>
              </a:buClr>
              <a:defRPr lang="en-US" sz="1400" noProof="0" dirty="0" smtClean="0"/>
            </a:lvl2pPr>
            <a:lvl3pPr>
              <a:buClr>
                <a:schemeClr val="accent1"/>
              </a:buClr>
              <a:defRPr lang="en-US" sz="1400" noProof="0" dirty="0" smtClean="0"/>
            </a:lvl3pPr>
          </a:lstStyle>
          <a:p>
            <a:pPr lvl="0"/>
            <a:r>
              <a:rPr lang="en-US" noProof="0"/>
              <a:t>Click to edit Master text styles</a:t>
            </a:r>
          </a:p>
          <a:p>
            <a:pPr lvl="1"/>
            <a:r>
              <a:rPr lang="en-US" noProof="0"/>
              <a:t>Second level</a:t>
            </a:r>
          </a:p>
          <a:p>
            <a:pPr lvl="2"/>
            <a:r>
              <a:rPr lang="en-US" noProof="0"/>
              <a:t>Third level</a:t>
            </a:r>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2708138"/>
            <a:ext cx="6158232" cy="1042416"/>
          </a:xfrm>
        </p:spPr>
        <p:txBody>
          <a:bodyPr vert="horz" lIns="0" tIns="0" rIns="0" bIns="0" rtlCol="0">
            <a:noAutofit/>
          </a:bodyPr>
          <a:lstStyle>
            <a:lvl1pPr>
              <a:buClr>
                <a:schemeClr val="accent1"/>
              </a:buClr>
              <a:defRPr lang="en-US" sz="1600" b="0" dirty="0" smtClean="0">
                <a:solidFill>
                  <a:schemeClr val="tx1"/>
                </a:solidFill>
              </a:defRPr>
            </a:lvl1pPr>
            <a:lvl2pPr>
              <a:buClr>
                <a:schemeClr val="accent1"/>
              </a:buClr>
              <a:defRPr lang="en-US" sz="1400" dirty="0" smtClean="0"/>
            </a:lvl2pPr>
            <a:lvl3pPr>
              <a:buClr>
                <a:schemeClr val="accent1"/>
              </a:buClr>
              <a:defRPr lang="en-US" sz="1400" dirty="0" smtClean="0"/>
            </a:lvl3pPr>
          </a:lstStyle>
          <a:p>
            <a:pPr lvl="0"/>
            <a:r>
              <a:rPr lang="en-US"/>
              <a:t>Click to edit Master text styles</a:t>
            </a:r>
          </a:p>
          <a:p>
            <a:pPr lvl="1"/>
            <a:r>
              <a:rPr lang="en-US"/>
              <a:t>Second level</a:t>
            </a:r>
          </a:p>
          <a:p>
            <a:pPr lvl="2"/>
            <a:r>
              <a:rPr lang="en-US"/>
              <a:t>Third level</a:t>
            </a:r>
          </a:p>
        </p:txBody>
      </p:sp>
      <p:sp>
        <p:nvSpPr>
          <p:cNvPr id="8" name="Text Placeholder 2"/>
          <p:cNvSpPr>
            <a:spLocks noGrp="1"/>
          </p:cNvSpPr>
          <p:nvPr>
            <p:ph type="body" sz="quarter" idx="24"/>
            <p:custDataLst>
              <p:tags r:id="rId1"/>
            </p:custDataLst>
          </p:nvPr>
        </p:nvSpPr>
        <p:spPr>
          <a:xfrm>
            <a:off x="366712" y="1528360"/>
            <a:ext cx="2102167" cy="1046351"/>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2708138"/>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solidFill>
                  <a:schemeClr val="accent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3883981"/>
            <a:ext cx="6158232" cy="1042416"/>
          </a:xfrm>
        </p:spPr>
        <p:txBody>
          <a:bodyPr vert="horz" lIns="0" tIns="0" rIns="0" bIns="0" rtlCol="0">
            <a:noAutofit/>
          </a:bodyPr>
          <a:lstStyle>
            <a:lvl1pPr>
              <a:buClr>
                <a:schemeClr val="accent1"/>
              </a:buClr>
              <a:defRPr lang="en-US" sz="1600" b="0" dirty="0" smtClean="0">
                <a:solidFill>
                  <a:schemeClr val="tx1"/>
                </a:solidFill>
              </a:defRPr>
            </a:lvl1pPr>
            <a:lvl2pPr>
              <a:buClr>
                <a:schemeClr val="accent1"/>
              </a:buClr>
              <a:defRPr lang="en-US" sz="1400" dirty="0" smtClean="0"/>
            </a:lvl2pPr>
            <a:lvl3pPr>
              <a:buClr>
                <a:schemeClr val="accent1"/>
              </a:buClr>
              <a:defRPr lang="en-US" sz="1400" dirty="0" smtClean="0"/>
            </a:lvl3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sz="quarter" idx="27"/>
            <p:custDataLst>
              <p:tags r:id="rId3"/>
            </p:custDataLst>
          </p:nvPr>
        </p:nvSpPr>
        <p:spPr>
          <a:xfrm>
            <a:off x="366712" y="3883981"/>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4" name="Content Placeholder 6"/>
          <p:cNvSpPr>
            <a:spLocks noGrp="1"/>
          </p:cNvSpPr>
          <p:nvPr>
            <p:ph sz="quarter" idx="28"/>
          </p:nvPr>
        </p:nvSpPr>
        <p:spPr>
          <a:xfrm>
            <a:off x="2622231" y="5059823"/>
            <a:ext cx="6158232" cy="1042416"/>
          </a:xfrm>
        </p:spPr>
        <p:txBody>
          <a:bodyPr vert="horz" lIns="0" tIns="0" rIns="0" bIns="0" rtlCol="0">
            <a:noAutofit/>
          </a:bodyPr>
          <a:lstStyle>
            <a:lvl1pPr>
              <a:buClr>
                <a:schemeClr val="accent1"/>
              </a:buClr>
              <a:defRPr lang="en-US" sz="1600" b="0" dirty="0" smtClean="0">
                <a:solidFill>
                  <a:schemeClr val="tx1"/>
                </a:solidFill>
              </a:defRPr>
            </a:lvl1pPr>
            <a:lvl2pPr>
              <a:buClr>
                <a:schemeClr val="accent1"/>
              </a:buClr>
              <a:defRPr lang="en-US" sz="1400" dirty="0" smtClean="0"/>
            </a:lvl2pPr>
            <a:lvl3pPr>
              <a:buClr>
                <a:schemeClr val="accent1"/>
              </a:buClr>
              <a:defRPr lang="en-US" sz="1400" dirty="0" smtClean="0"/>
            </a:lvl3pPr>
          </a:lstStyle>
          <a:p>
            <a:pPr lvl="0"/>
            <a:r>
              <a:rPr lang="en-US"/>
              <a:t>Click to edit Master text styles</a:t>
            </a:r>
          </a:p>
          <a:p>
            <a:pPr lvl="1"/>
            <a:r>
              <a:rPr lang="en-US"/>
              <a:t>Second level</a:t>
            </a:r>
          </a:p>
          <a:p>
            <a:pPr lvl="2"/>
            <a:r>
              <a:rPr lang="en-US"/>
              <a:t>Third level</a:t>
            </a:r>
          </a:p>
        </p:txBody>
      </p:sp>
      <p:sp>
        <p:nvSpPr>
          <p:cNvPr id="15" name="Text Placeholder 2"/>
          <p:cNvSpPr>
            <a:spLocks noGrp="1"/>
          </p:cNvSpPr>
          <p:nvPr>
            <p:ph type="body" sz="quarter" idx="29"/>
            <p:custDataLst>
              <p:tags r:id="rId4"/>
            </p:custDataLst>
          </p:nvPr>
        </p:nvSpPr>
        <p:spPr>
          <a:xfrm>
            <a:off x="366712" y="5059823"/>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67255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rrow 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893767"/>
            <a:ext cx="6158232" cy="1737360"/>
          </a:xfrm>
        </p:spPr>
        <p:txBody>
          <a:bodyPr vert="horz" lIns="0" tIns="0" rIns="0" bIns="0" rtlCol="0">
            <a:noAutofit/>
          </a:bodyPr>
          <a:lstStyle>
            <a:lvl1pPr>
              <a:defRPr lang="en-US" sz="1600" noProof="0" dirty="0" smtClean="0">
                <a:solidFill>
                  <a:schemeClr val="tx1"/>
                </a:solidFill>
              </a:defRPr>
            </a:lvl1pPr>
            <a:lvl2pPr>
              <a:defRPr lang="en-US" sz="1400" noProof="0" dirty="0" smtClean="0"/>
            </a:lvl2pPr>
            <a:lvl3pPr>
              <a:defRPr lang="en-US" sz="1600" noProof="0" dirty="0" smtClean="0"/>
            </a:lvl3pPr>
            <a:lvl4pPr>
              <a:defRPr lang="en-US" sz="1400" noProof="0" dirty="0" smtClean="0"/>
            </a:lvl4pPr>
            <a:lvl5pPr>
              <a:defRPr lang="en-US" sz="14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4035305"/>
            <a:ext cx="6158232" cy="1737360"/>
          </a:xfrm>
        </p:spPr>
        <p:txBody>
          <a:bodyPr vert="horz" lIns="0" tIns="0" rIns="0" bIns="0" rtlCol="0">
            <a:noAutofit/>
          </a:bodyPr>
          <a:lstStyle>
            <a:lvl1pPr>
              <a:defRPr lang="en-US" sz="1600" dirty="0" smtClean="0">
                <a:solidFill>
                  <a:schemeClr val="tx1"/>
                </a:solidFill>
              </a:defRPr>
            </a:lvl1pPr>
            <a:lvl2pPr>
              <a:defRPr lang="en-US" sz="1400" dirty="0" smtClean="0"/>
            </a:lvl2pPr>
            <a:lvl3pPr>
              <a:defRPr lang="en-US" sz="1600" dirty="0" smtClean="0"/>
            </a:lvl3pPr>
            <a:lvl4pPr>
              <a:defRPr lang="en-US" sz="1400" dirty="0" smtClean="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893767"/>
            <a:ext cx="2102167" cy="173736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4035305"/>
            <a:ext cx="2102167" cy="173736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solidFill>
                  <a:schemeClr val="accent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103032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rrow 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53961"/>
            <a:ext cx="6158232" cy="1234440"/>
          </a:xfrm>
        </p:spPr>
        <p:txBody>
          <a:bodyPr vert="horz" lIns="0" tIns="0" rIns="0" bIns="0" rtlCol="0">
            <a:noAutofit/>
          </a:bodyPr>
          <a:lstStyle>
            <a:lvl1pPr>
              <a:defRPr lang="en-US" sz="140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3202716"/>
            <a:ext cx="6158232" cy="1234440"/>
          </a:xfrm>
        </p:spPr>
        <p:txBody>
          <a:bodyPr vert="horz" lIns="0" tIns="0" rIns="0" bIns="0" rtlCol="0">
            <a:noAutofit/>
          </a:bodyPr>
          <a:lstStyle>
            <a:lvl1pPr>
              <a:defRPr lang="en-US" sz="140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53961"/>
            <a:ext cx="2102167" cy="123444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202716"/>
            <a:ext cx="2102167" cy="123444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solidFill>
                  <a:schemeClr val="accent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4751471"/>
            <a:ext cx="6158232" cy="1234440"/>
          </a:xfrm>
        </p:spPr>
        <p:txBody>
          <a:bodyPr vert="horz" lIns="0" tIns="0" rIns="0" bIns="0" rtlCol="0">
            <a:noAutofit/>
          </a:bodyPr>
          <a:lstStyle>
            <a:lvl1pPr>
              <a:defRPr lang="en-US" sz="140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p:cNvSpPr>
            <a:spLocks noGrp="1"/>
          </p:cNvSpPr>
          <p:nvPr>
            <p:ph type="body" sz="quarter" idx="27"/>
            <p:custDataLst>
              <p:tags r:id="rId3"/>
            </p:custDataLst>
          </p:nvPr>
        </p:nvSpPr>
        <p:spPr>
          <a:xfrm>
            <a:off x="366712" y="4751471"/>
            <a:ext cx="2102167" cy="123444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1968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rrow 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08696"/>
            <a:ext cx="6158232" cy="960120"/>
          </a:xfrm>
        </p:spPr>
        <p:txBody>
          <a:bodyPr vert="horz" lIns="0" tIns="0" rIns="0" bIns="0" rtlCol="0">
            <a:noAutofit/>
          </a:bodyPr>
          <a:lstStyle>
            <a:lvl1pPr>
              <a:buClr>
                <a:schemeClr val="accent1"/>
              </a:buClr>
              <a:defRPr lang="en-US" sz="1600" b="0" noProof="0" dirty="0" smtClean="0">
                <a:solidFill>
                  <a:schemeClr val="tx1"/>
                </a:solidFill>
              </a:defRPr>
            </a:lvl1pPr>
            <a:lvl2pPr>
              <a:buClr>
                <a:schemeClr val="accent1"/>
              </a:buClr>
              <a:defRPr lang="en-US" sz="1400" noProof="0" dirty="0" smtClean="0"/>
            </a:lvl2pPr>
            <a:lvl3pPr>
              <a:buClr>
                <a:schemeClr val="accent1"/>
              </a:buClr>
              <a:defRPr lang="en-US" sz="1400" noProof="0" dirty="0" smtClean="0"/>
            </a:lvl3pPr>
          </a:lstStyle>
          <a:p>
            <a:pPr lvl="0"/>
            <a:r>
              <a:rPr lang="en-US" noProof="0"/>
              <a:t>Click to edit Master text styles</a:t>
            </a:r>
          </a:p>
          <a:p>
            <a:pPr lvl="1"/>
            <a:r>
              <a:rPr lang="en-US" noProof="0"/>
              <a:t>Second level</a:t>
            </a:r>
          </a:p>
          <a:p>
            <a:pPr lvl="2"/>
            <a:r>
              <a:rPr lang="en-US" noProof="0"/>
              <a:t>Third level</a:t>
            </a:r>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2761213"/>
            <a:ext cx="6158232" cy="960120"/>
          </a:xfrm>
        </p:spPr>
        <p:txBody>
          <a:bodyPr vert="horz" lIns="0" tIns="0" rIns="0" bIns="0" rtlCol="0">
            <a:noAutofit/>
          </a:bodyPr>
          <a:lstStyle>
            <a:lvl1pPr>
              <a:buClr>
                <a:schemeClr val="accent1"/>
              </a:buClr>
              <a:defRPr lang="en-US" sz="1600" b="0" dirty="0" smtClean="0">
                <a:solidFill>
                  <a:schemeClr val="tx1"/>
                </a:solidFill>
              </a:defRPr>
            </a:lvl1pPr>
            <a:lvl2pPr>
              <a:buClr>
                <a:schemeClr val="accent1"/>
              </a:buClr>
              <a:defRPr lang="en-US" sz="1400" dirty="0" smtClean="0"/>
            </a:lvl2pPr>
            <a:lvl3pPr>
              <a:buClr>
                <a:schemeClr val="accent1"/>
              </a:buClr>
              <a:defRPr lang="en-US" sz="1400" dirty="0" smtClean="0"/>
            </a:lvl3pPr>
          </a:lstStyle>
          <a:p>
            <a:pPr lvl="0"/>
            <a:r>
              <a:rPr lang="en-US"/>
              <a:t>Click to edit Master text styles</a:t>
            </a:r>
          </a:p>
          <a:p>
            <a:pPr lvl="1"/>
            <a:r>
              <a:rPr lang="en-US"/>
              <a:t>Second level</a:t>
            </a:r>
          </a:p>
          <a:p>
            <a:pPr lvl="2"/>
            <a:r>
              <a:rPr lang="en-US"/>
              <a:t>Third level</a:t>
            </a:r>
          </a:p>
        </p:txBody>
      </p:sp>
      <p:sp>
        <p:nvSpPr>
          <p:cNvPr id="8" name="Text Placeholder 2"/>
          <p:cNvSpPr>
            <a:spLocks noGrp="1"/>
          </p:cNvSpPr>
          <p:nvPr>
            <p:ph type="body" sz="quarter" idx="24"/>
            <p:custDataLst>
              <p:tags r:id="rId1"/>
            </p:custDataLst>
          </p:nvPr>
        </p:nvSpPr>
        <p:spPr>
          <a:xfrm>
            <a:off x="366712" y="1608696"/>
            <a:ext cx="2102167" cy="96012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2761213"/>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solidFill>
                  <a:schemeClr val="accent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3913730"/>
            <a:ext cx="6158232" cy="960120"/>
          </a:xfrm>
        </p:spPr>
        <p:txBody>
          <a:bodyPr vert="horz" lIns="0" tIns="0" rIns="0" bIns="0" rtlCol="0">
            <a:noAutofit/>
          </a:bodyPr>
          <a:lstStyle>
            <a:lvl1pPr>
              <a:buClr>
                <a:schemeClr val="accent1"/>
              </a:buClr>
              <a:defRPr lang="en-US" sz="1600" b="0" dirty="0" smtClean="0">
                <a:solidFill>
                  <a:schemeClr val="tx1"/>
                </a:solidFill>
              </a:defRPr>
            </a:lvl1pPr>
            <a:lvl2pPr>
              <a:buClr>
                <a:schemeClr val="accent1"/>
              </a:buClr>
              <a:defRPr lang="en-US" sz="1400" dirty="0" smtClean="0"/>
            </a:lvl2pPr>
            <a:lvl3pPr>
              <a:buClr>
                <a:schemeClr val="accent1"/>
              </a:buClr>
              <a:defRPr lang="en-US" sz="1400" dirty="0" smtClean="0"/>
            </a:lvl3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sz="quarter" idx="27"/>
            <p:custDataLst>
              <p:tags r:id="rId3"/>
            </p:custDataLst>
          </p:nvPr>
        </p:nvSpPr>
        <p:spPr>
          <a:xfrm>
            <a:off x="366712" y="3913730"/>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4" name="Content Placeholder 6"/>
          <p:cNvSpPr>
            <a:spLocks noGrp="1"/>
          </p:cNvSpPr>
          <p:nvPr>
            <p:ph sz="quarter" idx="28"/>
          </p:nvPr>
        </p:nvSpPr>
        <p:spPr>
          <a:xfrm>
            <a:off x="2622231" y="5066246"/>
            <a:ext cx="6158232" cy="960120"/>
          </a:xfrm>
        </p:spPr>
        <p:txBody>
          <a:bodyPr vert="horz" lIns="0" tIns="0" rIns="0" bIns="0" rtlCol="0">
            <a:noAutofit/>
          </a:bodyPr>
          <a:lstStyle>
            <a:lvl1pPr>
              <a:buClr>
                <a:schemeClr val="accent1"/>
              </a:buClr>
              <a:defRPr lang="en-US" sz="1600" b="0" dirty="0" smtClean="0">
                <a:solidFill>
                  <a:schemeClr val="tx1"/>
                </a:solidFill>
              </a:defRPr>
            </a:lvl1pPr>
            <a:lvl2pPr>
              <a:buClr>
                <a:schemeClr val="accent1"/>
              </a:buClr>
              <a:defRPr lang="en-US" sz="1400" dirty="0" smtClean="0"/>
            </a:lvl2pPr>
            <a:lvl3pPr>
              <a:buClr>
                <a:schemeClr val="accent1"/>
              </a:buClr>
              <a:defRPr lang="en-US" sz="1400" dirty="0" smtClean="0"/>
            </a:lvl3pPr>
          </a:lstStyle>
          <a:p>
            <a:pPr lvl="0"/>
            <a:r>
              <a:rPr lang="en-US"/>
              <a:t>Click to edit Master text styles</a:t>
            </a:r>
          </a:p>
          <a:p>
            <a:pPr lvl="1"/>
            <a:r>
              <a:rPr lang="en-US"/>
              <a:t>Second level</a:t>
            </a:r>
          </a:p>
          <a:p>
            <a:pPr lvl="2"/>
            <a:r>
              <a:rPr lang="en-US"/>
              <a:t>Third level</a:t>
            </a:r>
          </a:p>
        </p:txBody>
      </p:sp>
      <p:sp>
        <p:nvSpPr>
          <p:cNvPr id="15" name="Text Placeholder 2"/>
          <p:cNvSpPr>
            <a:spLocks noGrp="1"/>
          </p:cNvSpPr>
          <p:nvPr>
            <p:ph type="body" sz="quarter" idx="29"/>
            <p:custDataLst>
              <p:tags r:id="rId4"/>
            </p:custDataLst>
          </p:nvPr>
        </p:nvSpPr>
        <p:spPr>
          <a:xfrm>
            <a:off x="366712" y="5066246"/>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2222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12" name="Freeform 6"/>
          <p:cNvSpPr>
            <a:spLocks/>
          </p:cNvSpPr>
          <p:nvPr userDrawn="1"/>
        </p:nvSpPr>
        <p:spPr bwMode="auto">
          <a:xfrm>
            <a:off x="3425840" y="0"/>
            <a:ext cx="5733420" cy="6858000"/>
          </a:xfrm>
          <a:custGeom>
            <a:avLst/>
            <a:gdLst/>
            <a:ahLst/>
            <a:cxnLst/>
            <a:rect l="l" t="t" r="r" b="b"/>
            <a:pathLst>
              <a:path w="5733420" h="6858000">
                <a:moveTo>
                  <a:pt x="0" y="0"/>
                </a:moveTo>
                <a:lnTo>
                  <a:pt x="634" y="0"/>
                </a:lnTo>
                <a:lnTo>
                  <a:pt x="5733420" y="0"/>
                </a:lnTo>
                <a:lnTo>
                  <a:pt x="5729588" y="6858000"/>
                </a:lnTo>
                <a:lnTo>
                  <a:pt x="3963034" y="685800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7079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19" name="Isosceles Triangle 18"/>
          <p:cNvSpPr/>
          <p:nvPr userDrawn="1"/>
        </p:nvSpPr>
        <p:spPr bwMode="auto">
          <a:xfrm>
            <a:off x="7496175" y="3993931"/>
            <a:ext cx="1661161" cy="2864069"/>
          </a:xfrm>
          <a:custGeom>
            <a:avLst/>
            <a:gdLst/>
            <a:ahLst/>
            <a:cxnLst/>
            <a:rect l="l" t="t" r="r" b="b"/>
            <a:pathLst>
              <a:path w="1661161" h="2864069">
                <a:moveTo>
                  <a:pt x="1661161" y="0"/>
                </a:moveTo>
                <a:lnTo>
                  <a:pt x="1661161" y="2864069"/>
                </a:lnTo>
                <a:lnTo>
                  <a:pt x="0" y="2864069"/>
                </a:lnTo>
                <a:close/>
              </a:path>
            </a:pathLst>
          </a:custGeom>
          <a:solidFill>
            <a:schemeClr val="accent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1" name="Freeform 6"/>
          <p:cNvSpPr>
            <a:spLocks/>
          </p:cNvSpPr>
          <p:nvPr userDrawn="1"/>
        </p:nvSpPr>
        <p:spPr bwMode="auto">
          <a:xfrm>
            <a:off x="4879047" y="0"/>
            <a:ext cx="4280213" cy="5697264"/>
          </a:xfrm>
          <a:custGeom>
            <a:avLst/>
            <a:gdLst/>
            <a:ahLst/>
            <a:cxnLst/>
            <a:rect l="l" t="t" r="r" b="b"/>
            <a:pathLst>
              <a:path w="4280213" h="5697264">
                <a:moveTo>
                  <a:pt x="0" y="0"/>
                </a:moveTo>
                <a:lnTo>
                  <a:pt x="634" y="0"/>
                </a:lnTo>
                <a:lnTo>
                  <a:pt x="4280213" y="0"/>
                </a:lnTo>
                <a:lnTo>
                  <a:pt x="4280213" y="3993931"/>
                </a:lnTo>
                <a:lnTo>
                  <a:pt x="3292279" y="569726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4" name="Isosceles Triangle 13"/>
          <p:cNvSpPr/>
          <p:nvPr userDrawn="1"/>
        </p:nvSpPr>
        <p:spPr bwMode="auto">
          <a:xfrm>
            <a:off x="7496175" y="5696782"/>
            <a:ext cx="1347013" cy="1161218"/>
          </a:xfrm>
          <a:prstGeom prst="triangle">
            <a:avLst/>
          </a:pr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pSp>
        <p:nvGrpSpPr>
          <p:cNvPr id="28" name="Group 27"/>
          <p:cNvGrpSpPr>
            <a:grpSpLocks noChangeAspect="1"/>
          </p:cNvGrpSpPr>
          <p:nvPr userDrawn="1"/>
        </p:nvGrpSpPr>
        <p:grpSpPr>
          <a:xfrm>
            <a:off x="374651" y="6431112"/>
            <a:ext cx="1673352" cy="328463"/>
            <a:chOff x="374651" y="6029325"/>
            <a:chExt cx="2054224" cy="403225"/>
          </a:xfrm>
        </p:grpSpPr>
        <p:sp>
          <p:nvSpPr>
            <p:cNvPr id="29"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0"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1" name="Freeform 30"/>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2" name="Freeform 31"/>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3" name="Freeform 32"/>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4" name="Freeform 33"/>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5" name="Freeform 34"/>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6" name="Freeform 35"/>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7"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8"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9"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0"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1"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2"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3"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4"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5"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370940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Header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4610549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21" name="Freeform 6"/>
          <p:cNvSpPr>
            <a:spLocks/>
          </p:cNvSpPr>
          <p:nvPr userDrawn="1"/>
        </p:nvSpPr>
        <p:spPr bwMode="auto">
          <a:xfrm>
            <a:off x="5506102" y="0"/>
            <a:ext cx="3648058" cy="5697264"/>
          </a:xfrm>
          <a:custGeom>
            <a:avLst/>
            <a:gdLst/>
            <a:ahLst/>
            <a:cxnLst/>
            <a:rect l="l" t="t" r="r" b="b"/>
            <a:pathLst>
              <a:path w="3648058" h="5697264">
                <a:moveTo>
                  <a:pt x="0" y="0"/>
                </a:moveTo>
                <a:lnTo>
                  <a:pt x="634" y="0"/>
                </a:lnTo>
                <a:lnTo>
                  <a:pt x="3648058" y="0"/>
                </a:lnTo>
                <a:lnTo>
                  <a:pt x="3648058" y="5083853"/>
                </a:lnTo>
                <a:lnTo>
                  <a:pt x="3292279" y="569726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9" name="Isosceles Triangle 18"/>
          <p:cNvSpPr/>
          <p:nvPr userDrawn="1"/>
        </p:nvSpPr>
        <p:spPr bwMode="auto">
          <a:xfrm>
            <a:off x="7315116" y="3687235"/>
            <a:ext cx="1839045" cy="3170765"/>
          </a:xfrm>
          <a:custGeom>
            <a:avLst/>
            <a:gdLst/>
            <a:ahLst/>
            <a:cxnLst/>
            <a:rect l="l" t="t" r="r" b="b"/>
            <a:pathLst>
              <a:path w="1839045" h="3170765">
                <a:moveTo>
                  <a:pt x="1839045" y="0"/>
                </a:moveTo>
                <a:lnTo>
                  <a:pt x="1839045" y="3170765"/>
                </a:lnTo>
                <a:lnTo>
                  <a:pt x="0" y="3170765"/>
                </a:lnTo>
                <a:close/>
              </a:path>
            </a:pathLst>
          </a:custGeom>
          <a:solidFill>
            <a:schemeClr val="accent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pSp>
        <p:nvGrpSpPr>
          <p:cNvPr id="32" name="Group 31"/>
          <p:cNvGrpSpPr>
            <a:grpSpLocks noChangeAspect="1"/>
          </p:cNvGrpSpPr>
          <p:nvPr userDrawn="1"/>
        </p:nvGrpSpPr>
        <p:grpSpPr>
          <a:xfrm>
            <a:off x="374651" y="6431112"/>
            <a:ext cx="1673352" cy="328463"/>
            <a:chOff x="374651" y="6029325"/>
            <a:chExt cx="2054224" cy="403225"/>
          </a:xfrm>
        </p:grpSpPr>
        <p:sp>
          <p:nvSpPr>
            <p:cNvPr id="33"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4"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5" name="Freeform 34"/>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6" name="Freeform 35"/>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7" name="Freeform 36"/>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8" name="Freeform 37"/>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9" name="Freeform 38"/>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0" name="Freeform 39"/>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1"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2"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3"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4"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5"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6"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7"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8"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9"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
        <p:nvSpPr>
          <p:cNvPr id="26" name="Isosceles Triangle 13"/>
          <p:cNvSpPr/>
          <p:nvPr userDrawn="1"/>
        </p:nvSpPr>
        <p:spPr bwMode="auto">
          <a:xfrm>
            <a:off x="7315115" y="4997292"/>
            <a:ext cx="1839045" cy="1860708"/>
          </a:xfrm>
          <a:custGeom>
            <a:avLst/>
            <a:gdLst/>
            <a:ahLst/>
            <a:cxnLst/>
            <a:rect l="l" t="t" r="r" b="b"/>
            <a:pathLst>
              <a:path w="1839045" h="1860708">
                <a:moveTo>
                  <a:pt x="1079211" y="0"/>
                </a:moveTo>
                <a:lnTo>
                  <a:pt x="1839045" y="1310060"/>
                </a:lnTo>
                <a:lnTo>
                  <a:pt x="1839045" y="1860708"/>
                </a:lnTo>
                <a:lnTo>
                  <a:pt x="0" y="1860708"/>
                </a:lnTo>
                <a:close/>
              </a:path>
            </a:pathLst>
          </a:cu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Tree>
    <p:extLst>
      <p:ext uri="{BB962C8B-B14F-4D97-AF65-F5344CB8AC3E}">
        <p14:creationId xmlns:p14="http://schemas.microsoft.com/office/powerpoint/2010/main" val="161576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Header 3">
    <p:spTree>
      <p:nvGrpSpPr>
        <p:cNvPr id="1" name=""/>
        <p:cNvGrpSpPr/>
        <p:nvPr/>
      </p:nvGrpSpPr>
      <p:grpSpPr>
        <a:xfrm>
          <a:off x="0" y="0"/>
          <a:ext cx="0" cy="0"/>
          <a:chOff x="0" y="0"/>
          <a:chExt cx="0" cy="0"/>
        </a:xfrm>
      </p:grpSpPr>
      <p:sp>
        <p:nvSpPr>
          <p:cNvPr id="2" name="Title 1"/>
          <p:cNvSpPr>
            <a:spLocks noGrp="1"/>
          </p:cNvSpPr>
          <p:nvPr>
            <p:ph type="ctrTitle"/>
          </p:nvPr>
        </p:nvSpPr>
        <p:spPr>
          <a:xfrm>
            <a:off x="367506" y="2220544"/>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3223749"/>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4" name="Rectangle 3"/>
          <p:cNvSpPr/>
          <p:nvPr userDrawn="1"/>
        </p:nvSpPr>
        <p:spPr bwMode="auto">
          <a:xfrm>
            <a:off x="0" y="3942080"/>
            <a:ext cx="8034337" cy="2915920"/>
          </a:xfrm>
          <a:custGeom>
            <a:avLst/>
            <a:gdLst>
              <a:gd name="connsiteX0" fmla="*/ 0 w 9142413"/>
              <a:gd name="connsiteY0" fmla="*/ 0 h 2915920"/>
              <a:gd name="connsiteX1" fmla="*/ 9142413 w 9142413"/>
              <a:gd name="connsiteY1" fmla="*/ 0 h 2915920"/>
              <a:gd name="connsiteX2" fmla="*/ 9142413 w 9142413"/>
              <a:gd name="connsiteY2" fmla="*/ 2915920 h 2915920"/>
              <a:gd name="connsiteX3" fmla="*/ 0 w 9142413"/>
              <a:gd name="connsiteY3" fmla="*/ 2915920 h 2915920"/>
              <a:gd name="connsiteX4" fmla="*/ 0 w 9142413"/>
              <a:gd name="connsiteY4" fmla="*/ 0 h 2915920"/>
              <a:gd name="connsiteX0" fmla="*/ 0 w 9142413"/>
              <a:gd name="connsiteY0" fmla="*/ 0 h 2915920"/>
              <a:gd name="connsiteX1" fmla="*/ 9142413 w 9142413"/>
              <a:gd name="connsiteY1" fmla="*/ 2915920 h 2915920"/>
              <a:gd name="connsiteX2" fmla="*/ 0 w 9142413"/>
              <a:gd name="connsiteY2" fmla="*/ 2915920 h 2915920"/>
              <a:gd name="connsiteX3" fmla="*/ 0 w 9142413"/>
              <a:gd name="connsiteY3" fmla="*/ 0 h 2915920"/>
            </a:gdLst>
            <a:ahLst/>
            <a:cxnLst>
              <a:cxn ang="0">
                <a:pos x="connsiteX0" y="connsiteY0"/>
              </a:cxn>
              <a:cxn ang="0">
                <a:pos x="connsiteX1" y="connsiteY1"/>
              </a:cxn>
              <a:cxn ang="0">
                <a:pos x="connsiteX2" y="connsiteY2"/>
              </a:cxn>
              <a:cxn ang="0">
                <a:pos x="connsiteX3" y="connsiteY3"/>
              </a:cxn>
            </a:cxnLst>
            <a:rect l="l" t="t" r="r" b="b"/>
            <a:pathLst>
              <a:path w="9142413" h="2915920">
                <a:moveTo>
                  <a:pt x="0" y="0"/>
                </a:moveTo>
                <a:lnTo>
                  <a:pt x="9142413" y="2915920"/>
                </a:lnTo>
                <a:lnTo>
                  <a:pt x="0" y="2915920"/>
                </a:lnTo>
                <a:lnTo>
                  <a:pt x="0" y="0"/>
                </a:lnTo>
                <a:close/>
              </a:path>
            </a:pathLst>
          </a:custGeom>
          <a:solidFill>
            <a:schemeClr val="accent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636515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tangle 3"/>
          <p:cNvSpPr/>
          <p:nvPr userDrawn="1"/>
        </p:nvSpPr>
        <p:spPr bwMode="auto">
          <a:xfrm flipH="1">
            <a:off x="6443185" y="4140200"/>
            <a:ext cx="2706767" cy="2717800"/>
          </a:xfrm>
          <a:custGeom>
            <a:avLst/>
            <a:gdLst/>
            <a:ahLst/>
            <a:cxnLst/>
            <a:rect l="l" t="t" r="r" b="b"/>
            <a:pathLst>
              <a:path w="2706767" h="2717800">
                <a:moveTo>
                  <a:pt x="0" y="0"/>
                </a:moveTo>
                <a:lnTo>
                  <a:pt x="0" y="2717800"/>
                </a:lnTo>
                <a:lnTo>
                  <a:pt x="2706767" y="2717800"/>
                </a:lnTo>
                <a:close/>
              </a:path>
            </a:pathLst>
          </a:custGeom>
          <a:solidFill>
            <a:schemeClr val="bg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18" name="Rectangle 3"/>
          <p:cNvSpPr/>
          <p:nvPr userDrawn="1"/>
        </p:nvSpPr>
        <p:spPr bwMode="auto">
          <a:xfrm>
            <a:off x="6443185" y="6433837"/>
            <a:ext cx="1591152" cy="424163"/>
          </a:xfrm>
          <a:custGeom>
            <a:avLst/>
            <a:gdLst/>
            <a:ahLst/>
            <a:cxnLst/>
            <a:rect l="l" t="t" r="r" b="b"/>
            <a:pathLst>
              <a:path w="1591152" h="424163">
                <a:moveTo>
                  <a:pt x="422441" y="0"/>
                </a:moveTo>
                <a:lnTo>
                  <a:pt x="1591152" y="424163"/>
                </a:lnTo>
                <a:lnTo>
                  <a:pt x="0" y="424163"/>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3" name="Rectangle 3"/>
          <p:cNvSpPr/>
          <p:nvPr userDrawn="1"/>
        </p:nvSpPr>
        <p:spPr bwMode="auto">
          <a:xfrm flipH="1">
            <a:off x="7443993" y="5145088"/>
            <a:ext cx="1705959" cy="1712912"/>
          </a:xfrm>
          <a:custGeom>
            <a:avLst/>
            <a:gdLst/>
            <a:ahLst/>
            <a:cxnLst/>
            <a:rect l="l" t="t" r="r" b="b"/>
            <a:pathLst>
              <a:path w="1705959" h="1712912">
                <a:moveTo>
                  <a:pt x="0" y="0"/>
                </a:moveTo>
                <a:lnTo>
                  <a:pt x="0" y="1712912"/>
                </a:lnTo>
                <a:lnTo>
                  <a:pt x="1705959" y="1712912"/>
                </a:lnTo>
                <a:close/>
              </a:path>
            </a:pathLst>
          </a:cu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5" name="Rectangle 3"/>
          <p:cNvSpPr/>
          <p:nvPr userDrawn="1"/>
        </p:nvSpPr>
        <p:spPr bwMode="auto">
          <a:xfrm>
            <a:off x="7443993" y="6700629"/>
            <a:ext cx="590344" cy="157371"/>
          </a:xfrm>
          <a:custGeom>
            <a:avLst/>
            <a:gdLst/>
            <a:ahLst/>
            <a:cxnLst/>
            <a:rect l="l" t="t" r="r" b="b"/>
            <a:pathLst>
              <a:path w="590344" h="157371">
                <a:moveTo>
                  <a:pt x="156733" y="0"/>
                </a:moveTo>
                <a:lnTo>
                  <a:pt x="590344" y="157371"/>
                </a:lnTo>
                <a:lnTo>
                  <a:pt x="0" y="157371"/>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1430699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Header 4">
    <p:bg>
      <p:bgPr>
        <a:solidFill>
          <a:schemeClr val="tx2"/>
        </a:solidFill>
        <a:effectLst/>
      </p:bgPr>
    </p:bg>
    <p:spTree>
      <p:nvGrpSpPr>
        <p:cNvPr id="1" name=""/>
        <p:cNvGrpSpPr/>
        <p:nvPr/>
      </p:nvGrpSpPr>
      <p:grpSpPr>
        <a:xfrm>
          <a:off x="0" y="0"/>
          <a:ext cx="0" cy="0"/>
          <a:chOff x="0" y="0"/>
          <a:chExt cx="0" cy="0"/>
        </a:xfrm>
      </p:grpSpPr>
      <p:sp>
        <p:nvSpPr>
          <p:cNvPr id="12" name="Freeform 6"/>
          <p:cNvSpPr>
            <a:spLocks/>
          </p:cNvSpPr>
          <p:nvPr userDrawn="1"/>
        </p:nvSpPr>
        <p:spPr bwMode="auto">
          <a:xfrm>
            <a:off x="3425840" y="0"/>
            <a:ext cx="5733420" cy="6858000"/>
          </a:xfrm>
          <a:custGeom>
            <a:avLst/>
            <a:gdLst/>
            <a:ahLst/>
            <a:cxnLst/>
            <a:rect l="l" t="t" r="r" b="b"/>
            <a:pathLst>
              <a:path w="5733420" h="6858000">
                <a:moveTo>
                  <a:pt x="0" y="0"/>
                </a:moveTo>
                <a:lnTo>
                  <a:pt x="634" y="0"/>
                </a:lnTo>
                <a:lnTo>
                  <a:pt x="5733420" y="0"/>
                </a:lnTo>
                <a:lnTo>
                  <a:pt x="5729588" y="6858000"/>
                </a:lnTo>
                <a:lnTo>
                  <a:pt x="3963034" y="685800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947961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bg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19" name="Isosceles Triangle 18"/>
          <p:cNvSpPr/>
          <p:nvPr userDrawn="1"/>
        </p:nvSpPr>
        <p:spPr bwMode="auto">
          <a:xfrm>
            <a:off x="7496175" y="3993931"/>
            <a:ext cx="1661161" cy="2864069"/>
          </a:xfrm>
          <a:custGeom>
            <a:avLst/>
            <a:gdLst/>
            <a:ahLst/>
            <a:cxnLst/>
            <a:rect l="l" t="t" r="r" b="b"/>
            <a:pathLst>
              <a:path w="1661161" h="2864069">
                <a:moveTo>
                  <a:pt x="1661161" y="0"/>
                </a:moveTo>
                <a:lnTo>
                  <a:pt x="1661161" y="2864069"/>
                </a:lnTo>
                <a:lnTo>
                  <a:pt x="0" y="2864069"/>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1" name="Freeform 6"/>
          <p:cNvSpPr>
            <a:spLocks/>
          </p:cNvSpPr>
          <p:nvPr userDrawn="1"/>
        </p:nvSpPr>
        <p:spPr bwMode="auto">
          <a:xfrm>
            <a:off x="4879047" y="0"/>
            <a:ext cx="4280213" cy="5697264"/>
          </a:xfrm>
          <a:custGeom>
            <a:avLst/>
            <a:gdLst/>
            <a:ahLst/>
            <a:cxnLst/>
            <a:rect l="l" t="t" r="r" b="b"/>
            <a:pathLst>
              <a:path w="4280213" h="5697264">
                <a:moveTo>
                  <a:pt x="0" y="0"/>
                </a:moveTo>
                <a:lnTo>
                  <a:pt x="634" y="0"/>
                </a:lnTo>
                <a:lnTo>
                  <a:pt x="4280213" y="0"/>
                </a:lnTo>
                <a:lnTo>
                  <a:pt x="4280213" y="3993931"/>
                </a:lnTo>
                <a:lnTo>
                  <a:pt x="3292279" y="569726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4" name="Isosceles Triangle 13"/>
          <p:cNvSpPr/>
          <p:nvPr userDrawn="1"/>
        </p:nvSpPr>
        <p:spPr bwMode="auto">
          <a:xfrm>
            <a:off x="7496175" y="5696782"/>
            <a:ext cx="1347013" cy="1161218"/>
          </a:xfrm>
          <a:prstGeom prst="triangle">
            <a:avLst/>
          </a:prstGeom>
          <a:solidFill>
            <a:schemeClr val="bg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3405899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lor Background 2">
    <p:spTree>
      <p:nvGrpSpPr>
        <p:cNvPr id="1" name=""/>
        <p:cNvGrpSpPr/>
        <p:nvPr/>
      </p:nvGrpSpPr>
      <p:grpSpPr>
        <a:xfrm>
          <a:off x="0" y="0"/>
          <a:ext cx="0" cy="0"/>
          <a:chOff x="0" y="0"/>
          <a:chExt cx="0" cy="0"/>
        </a:xfrm>
      </p:grpSpPr>
      <p:sp>
        <p:nvSpPr>
          <p:cNvPr id="9" name="Rectangle 8"/>
          <p:cNvSpPr/>
          <p:nvPr userDrawn="1"/>
        </p:nvSpPr>
        <p:spPr bwMode="auto">
          <a:xfrm>
            <a:off x="0" y="0"/>
            <a:ext cx="9144000" cy="6216650"/>
          </a:xfrm>
          <a:prstGeom prst="rect">
            <a:avLst/>
          </a:prstGeom>
          <a:solidFill>
            <a:schemeClr val="accent1"/>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0" name="Rectangle 16"/>
          <p:cNvSpPr/>
          <p:nvPr userDrawn="1"/>
        </p:nvSpPr>
        <p:spPr bwMode="auto">
          <a:xfrm>
            <a:off x="0" y="0"/>
            <a:ext cx="6496088" cy="6216650"/>
          </a:xfrm>
          <a:custGeom>
            <a:avLst/>
            <a:gdLst/>
            <a:ahLst/>
            <a:cxnLst/>
            <a:rect l="l" t="t" r="r" b="b"/>
            <a:pathLst>
              <a:path w="6496088" h="6216650">
                <a:moveTo>
                  <a:pt x="0" y="0"/>
                </a:moveTo>
                <a:lnTo>
                  <a:pt x="6496088" y="0"/>
                </a:lnTo>
                <a:cubicBezTo>
                  <a:pt x="6224151" y="475381"/>
                  <a:pt x="2923062" y="6156962"/>
                  <a:pt x="2900554" y="6216650"/>
                </a:cubicBezTo>
                <a:lnTo>
                  <a:pt x="0" y="6216650"/>
                </a:lnTo>
                <a:close/>
              </a:path>
            </a:pathLst>
          </a:custGeom>
          <a:solidFill>
            <a:schemeClr val="accent2"/>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1" name="Rectangle 12"/>
          <p:cNvSpPr/>
          <p:nvPr userDrawn="1"/>
        </p:nvSpPr>
        <p:spPr bwMode="auto">
          <a:xfrm>
            <a:off x="1" y="0"/>
            <a:ext cx="1179707" cy="2041416"/>
          </a:xfrm>
          <a:custGeom>
            <a:avLst/>
            <a:gdLst/>
            <a:ahLst/>
            <a:cxnLst/>
            <a:rect l="l" t="t" r="r" b="b"/>
            <a:pathLst>
              <a:path w="1179707" h="2041416">
                <a:moveTo>
                  <a:pt x="0" y="0"/>
                </a:moveTo>
                <a:lnTo>
                  <a:pt x="1179707" y="0"/>
                </a:lnTo>
                <a:cubicBezTo>
                  <a:pt x="667559" y="883988"/>
                  <a:pt x="213348" y="1669135"/>
                  <a:pt x="0" y="2041416"/>
                </a:cubicBezTo>
                <a:close/>
              </a:path>
            </a:pathLst>
          </a:custGeom>
          <a:solidFill>
            <a:schemeClr val="accent3"/>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2" name="Rectangle 9"/>
          <p:cNvSpPr/>
          <p:nvPr userDrawn="1"/>
        </p:nvSpPr>
        <p:spPr bwMode="auto">
          <a:xfrm>
            <a:off x="7596336" y="3534372"/>
            <a:ext cx="1547664" cy="2682279"/>
          </a:xfrm>
          <a:custGeom>
            <a:avLst/>
            <a:gdLst/>
            <a:ahLst/>
            <a:cxnLst/>
            <a:rect l="l" t="t" r="r" b="b"/>
            <a:pathLst>
              <a:path w="1547664" h="2682279">
                <a:moveTo>
                  <a:pt x="1547664" y="0"/>
                </a:moveTo>
                <a:lnTo>
                  <a:pt x="1547664" y="2682279"/>
                </a:lnTo>
                <a:lnTo>
                  <a:pt x="0" y="2682279"/>
                </a:lnTo>
                <a:cubicBezTo>
                  <a:pt x="10572" y="2654246"/>
                  <a:pt x="744233" y="1386307"/>
                  <a:pt x="1547664" y="0"/>
                </a:cubicBezTo>
                <a:close/>
              </a:path>
            </a:pathLst>
          </a:custGeom>
          <a:solidFill>
            <a:schemeClr val="bg2"/>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3" name="Rectangle 17"/>
          <p:cNvSpPr/>
          <p:nvPr userDrawn="1"/>
        </p:nvSpPr>
        <p:spPr bwMode="auto">
          <a:xfrm>
            <a:off x="8596064" y="5261240"/>
            <a:ext cx="547936" cy="955410"/>
          </a:xfrm>
          <a:custGeom>
            <a:avLst/>
            <a:gdLst/>
            <a:ahLst/>
            <a:cxnLst/>
            <a:rect l="l" t="t" r="r" b="b"/>
            <a:pathLst>
              <a:path w="547936" h="955410">
                <a:moveTo>
                  <a:pt x="547936" y="0"/>
                </a:moveTo>
                <a:lnTo>
                  <a:pt x="547936" y="955410"/>
                </a:lnTo>
                <a:lnTo>
                  <a:pt x="0" y="955410"/>
                </a:lnTo>
                <a:cubicBezTo>
                  <a:pt x="5725" y="940240"/>
                  <a:pt x="222775" y="562702"/>
                  <a:pt x="547936" y="0"/>
                </a:cubicBezTo>
                <a:close/>
              </a:path>
            </a:pathLst>
          </a:custGeom>
          <a:solidFill>
            <a:schemeClr val="accent4"/>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2" name="Title 1"/>
          <p:cNvSpPr>
            <a:spLocks noGrp="1"/>
          </p:cNvSpPr>
          <p:nvPr>
            <p:ph type="title"/>
          </p:nvPr>
        </p:nvSpPr>
        <p:spPr>
          <a:xfrm>
            <a:off x="302578" y="2431217"/>
            <a:ext cx="8526244" cy="677108"/>
          </a:xfrm>
        </p:spPr>
        <p:txBody>
          <a:bodyPr lIns="91440" tIns="91440" rIns="91440" bIns="91440" anchor="ctr" anchorCtr="0"/>
          <a:lstStyle>
            <a:lvl1pPr algn="ctr">
              <a:defRPr sz="4000" baseline="0">
                <a:solidFill>
                  <a:schemeClr val="bg1"/>
                </a:solidFill>
              </a:defRPr>
            </a:lvl1pPr>
          </a:lstStyle>
          <a:p>
            <a:r>
              <a:rPr lang="en-US" noProof="0"/>
              <a:t>Click to edit Master title style</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3109675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lor Background with Title and Conten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solidFill>
                  <a:schemeClr val="bg1"/>
                </a:solidFill>
              </a:defRPr>
            </a:lvl1pPr>
          </a:lstStyle>
          <a:p>
            <a:r>
              <a:rPr lang="en-US" noProof="0"/>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solidFill>
                  <a:schemeClr val="bg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7" name="Freeform 783"/>
          <p:cNvSpPr>
            <a:spLocks/>
          </p:cNvSpPr>
          <p:nvPr userDrawn="1"/>
        </p:nvSpPr>
        <p:spPr bwMode="auto">
          <a:xfrm>
            <a:off x="8256901" y="5314384"/>
            <a:ext cx="897577" cy="1552352"/>
          </a:xfrm>
          <a:custGeom>
            <a:avLst/>
            <a:gdLst/>
            <a:ahLst/>
            <a:cxnLst/>
            <a:rect l="l" t="t" r="r" b="b"/>
            <a:pathLst>
              <a:path w="897577" h="1552352">
                <a:moveTo>
                  <a:pt x="897577" y="0"/>
                </a:moveTo>
                <a:lnTo>
                  <a:pt x="897577" y="917479"/>
                </a:lnTo>
                <a:lnTo>
                  <a:pt x="897577" y="917480"/>
                </a:lnTo>
                <a:lnTo>
                  <a:pt x="897577" y="1552352"/>
                </a:lnTo>
                <a:lnTo>
                  <a:pt x="736372" y="1552352"/>
                </a:lnTo>
                <a:lnTo>
                  <a:pt x="736371" y="1552352"/>
                </a:lnTo>
                <a:lnTo>
                  <a:pt x="0" y="1552352"/>
                </a:lnTo>
                <a:lnTo>
                  <a:pt x="368185" y="917480"/>
                </a:lnTo>
                <a:lnTo>
                  <a:pt x="368185" y="917480"/>
                </a:lnTo>
                <a:lnTo>
                  <a:pt x="368185" y="917480"/>
                </a:lnTo>
                <a:lnTo>
                  <a:pt x="368185" y="917479"/>
                </a:lnTo>
                <a:lnTo>
                  <a:pt x="368186" y="917479"/>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4D4D4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4013376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smtClean="0"/>
              <a:t>‹#›</a:t>
            </a:fld>
            <a:endParaRPr lang="en-US"/>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2881591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lor Background with 3 Columns">
    <p:bg>
      <p:bgPr>
        <a:solidFill>
          <a:schemeClr val="accent2"/>
        </a:solidFill>
        <a:effectLst/>
      </p:bgPr>
    </p:bg>
    <p:spTree>
      <p:nvGrpSpPr>
        <p:cNvPr id="1" name=""/>
        <p:cNvGrpSpPr/>
        <p:nvPr/>
      </p:nvGrpSpPr>
      <p:grpSpPr>
        <a:xfrm>
          <a:off x="0" y="0"/>
          <a:ext cx="0" cy="0"/>
          <a:chOff x="0" y="0"/>
          <a:chExt cx="0" cy="0"/>
        </a:xfrm>
      </p:grpSpPr>
      <p:sp>
        <p:nvSpPr>
          <p:cNvPr id="8" name="Freeform 783"/>
          <p:cNvSpPr>
            <a:spLocks/>
          </p:cNvSpPr>
          <p:nvPr userDrawn="1"/>
        </p:nvSpPr>
        <p:spPr bwMode="auto">
          <a:xfrm>
            <a:off x="8256901" y="5314384"/>
            <a:ext cx="897577" cy="1552352"/>
          </a:xfrm>
          <a:custGeom>
            <a:avLst/>
            <a:gdLst/>
            <a:ahLst/>
            <a:cxnLst/>
            <a:rect l="l" t="t" r="r" b="b"/>
            <a:pathLst>
              <a:path w="897577" h="1552352">
                <a:moveTo>
                  <a:pt x="897577" y="0"/>
                </a:moveTo>
                <a:lnTo>
                  <a:pt x="897577" y="917479"/>
                </a:lnTo>
                <a:lnTo>
                  <a:pt x="897577" y="917480"/>
                </a:lnTo>
                <a:lnTo>
                  <a:pt x="897577" y="1552352"/>
                </a:lnTo>
                <a:lnTo>
                  <a:pt x="736372" y="1552352"/>
                </a:lnTo>
                <a:lnTo>
                  <a:pt x="736371" y="1552352"/>
                </a:lnTo>
                <a:lnTo>
                  <a:pt x="0" y="1552352"/>
                </a:lnTo>
                <a:lnTo>
                  <a:pt x="368185" y="917480"/>
                </a:lnTo>
                <a:lnTo>
                  <a:pt x="368185" y="917480"/>
                </a:lnTo>
                <a:lnTo>
                  <a:pt x="368185" y="917480"/>
                </a:lnTo>
                <a:lnTo>
                  <a:pt x="368185" y="917479"/>
                </a:lnTo>
                <a:lnTo>
                  <a:pt x="368186" y="917479"/>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4D4D4F"/>
              </a:solidFill>
            </a:endParaRPr>
          </a:p>
        </p:txBody>
      </p:sp>
      <p:sp>
        <p:nvSpPr>
          <p:cNvPr id="2" name="Title 1"/>
          <p:cNvSpPr>
            <a:spLocks noGrp="1"/>
          </p:cNvSpPr>
          <p:nvPr>
            <p:ph type="title"/>
          </p:nvPr>
        </p:nvSpPr>
        <p:spPr>
          <a:xfrm>
            <a:off x="363538" y="629512"/>
            <a:ext cx="8526244" cy="347472"/>
          </a:xfrm>
        </p:spPr>
        <p:txBody>
          <a:bodyPr/>
          <a:lstStyle>
            <a:lvl1pPr>
              <a:defRPr baseline="0">
                <a:solidFill>
                  <a:schemeClr val="bg1"/>
                </a:solidFill>
              </a:defRPr>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2725102" cy="4343400"/>
          </a:xfrm>
        </p:spPr>
        <p:txBody>
          <a:bodyPr/>
          <a:lstStyle>
            <a:lvl1pPr marL="0" indent="0">
              <a:spcBef>
                <a:spcPts val="0"/>
              </a:spcBef>
              <a:spcAft>
                <a:spcPts val="600"/>
              </a:spcAft>
              <a:buClr>
                <a:schemeClr val="bg1"/>
              </a:buClr>
              <a:buFont typeface="Arial" panose="020B0604020202020204" pitchFamily="34" charset="0"/>
              <a:buChar char="​"/>
              <a:defRPr sz="1600" b="1">
                <a:solidFill>
                  <a:schemeClr val="bg1"/>
                </a:solidFill>
              </a:defRPr>
            </a:lvl1pPr>
            <a:lvl2pPr marL="233363" indent="-233363">
              <a:buClr>
                <a:schemeClr val="bg1"/>
              </a:buClr>
              <a:defRPr sz="1400">
                <a:solidFill>
                  <a:schemeClr val="bg1"/>
                </a:solidFill>
              </a:defRPr>
            </a:lvl2pPr>
            <a:lvl3pPr marL="457200" indent="-223838">
              <a:buClr>
                <a:schemeClr val="bg1"/>
              </a:buClr>
              <a:buFont typeface="Arial" panose="020B0604020202020204" pitchFamily="34" charset="0"/>
              <a:buChar char="»"/>
              <a:defRPr sz="1400">
                <a:solidFill>
                  <a:schemeClr val="bg1"/>
                </a:solidFill>
              </a:defRPr>
            </a:lvl3pPr>
            <a:lvl4pPr marL="690563" indent="-233363">
              <a:buClr>
                <a:schemeClr val="bg1"/>
              </a:buClr>
              <a:defRPr sz="1200">
                <a:solidFill>
                  <a:schemeClr val="bg1"/>
                </a:solidFill>
              </a:defRPr>
            </a:lvl4pPr>
            <a:lvl5pPr marL="974725" indent="-284163">
              <a:buClr>
                <a:schemeClr val="bg1"/>
              </a:buClr>
              <a:defRPr sz="1200">
                <a:solidFill>
                  <a:schemeClr val="bg1"/>
                </a:solidFill>
              </a:defRPr>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Content Placeholder 4"/>
          <p:cNvSpPr>
            <a:spLocks noGrp="1"/>
          </p:cNvSpPr>
          <p:nvPr>
            <p:ph sz="quarter" idx="17"/>
          </p:nvPr>
        </p:nvSpPr>
        <p:spPr>
          <a:xfrm>
            <a:off x="3217482" y="1206500"/>
            <a:ext cx="2724912" cy="4338638"/>
          </a:xfrm>
        </p:spPr>
        <p:txBody>
          <a:bodyPr/>
          <a:lstStyle>
            <a:lvl1pPr marL="0" indent="0">
              <a:spcBef>
                <a:spcPts val="0"/>
              </a:spcBef>
              <a:spcAft>
                <a:spcPts val="600"/>
              </a:spcAft>
              <a:buClr>
                <a:schemeClr val="bg1"/>
              </a:buClr>
              <a:buFont typeface="Arial" panose="020B0604020202020204" pitchFamily="34" charset="0"/>
              <a:buChar char="​"/>
              <a:defRPr sz="1600" b="1">
                <a:solidFill>
                  <a:schemeClr val="bg1"/>
                </a:solidFill>
              </a:defRPr>
            </a:lvl1pPr>
            <a:lvl2pPr marL="233363" indent="-233363">
              <a:buClr>
                <a:schemeClr val="bg1"/>
              </a:buClr>
              <a:defRPr sz="1400">
                <a:solidFill>
                  <a:schemeClr val="bg1"/>
                </a:solidFill>
              </a:defRPr>
            </a:lvl2pPr>
            <a:lvl3pPr marL="457200" indent="-223838">
              <a:buClr>
                <a:schemeClr val="bg1"/>
              </a:buClr>
              <a:defRPr sz="1400">
                <a:solidFill>
                  <a:schemeClr val="bg1"/>
                </a:solidFill>
              </a:defRPr>
            </a:lvl3pPr>
            <a:lvl4pPr marL="690563" indent="-233363">
              <a:buClr>
                <a:schemeClr val="bg1"/>
              </a:buClr>
              <a:defRPr sz="1200">
                <a:solidFill>
                  <a:schemeClr val="bg1"/>
                </a:solidFill>
              </a:defRPr>
            </a:lvl4pPr>
            <a:lvl5pPr marL="914400" indent="-223838">
              <a:buClr>
                <a:schemeClr val="bg1"/>
              </a:buCl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8"/>
          </p:nvPr>
        </p:nvSpPr>
        <p:spPr>
          <a:xfrm>
            <a:off x="6071235" y="1206500"/>
            <a:ext cx="2736850" cy="4357688"/>
          </a:xfrm>
        </p:spPr>
        <p:txBody>
          <a:bodyPr/>
          <a:lstStyle>
            <a:lvl1pPr marL="0" indent="0">
              <a:spcBef>
                <a:spcPts val="0"/>
              </a:spcBef>
              <a:spcAft>
                <a:spcPts val="600"/>
              </a:spcAft>
              <a:buClr>
                <a:schemeClr val="bg1"/>
              </a:buClr>
              <a:buFont typeface="Arial" panose="020B0604020202020204" pitchFamily="34" charset="0"/>
              <a:buChar char="​"/>
              <a:defRPr sz="1600" b="1">
                <a:solidFill>
                  <a:schemeClr val="bg1"/>
                </a:solidFill>
              </a:defRPr>
            </a:lvl1pPr>
            <a:lvl2pPr marL="233363" indent="-233363">
              <a:buClr>
                <a:schemeClr val="bg1"/>
              </a:buClr>
              <a:defRPr sz="1400">
                <a:solidFill>
                  <a:schemeClr val="bg1"/>
                </a:solidFill>
              </a:defRPr>
            </a:lvl2pPr>
            <a:lvl3pPr marL="457200" indent="-223838">
              <a:buClr>
                <a:schemeClr val="bg1"/>
              </a:buClr>
              <a:defRPr sz="1400">
                <a:solidFill>
                  <a:schemeClr val="bg1"/>
                </a:solidFill>
              </a:defRPr>
            </a:lvl3pPr>
            <a:lvl4pPr marL="690563" indent="-233363">
              <a:buClr>
                <a:schemeClr val="bg1"/>
              </a:buClr>
              <a:defRPr sz="1200">
                <a:solidFill>
                  <a:schemeClr val="bg1"/>
                </a:solidFill>
              </a:defRPr>
            </a:lvl4pPr>
            <a:lvl5pPr marL="914400" indent="-223838">
              <a:buClr>
                <a:schemeClr val="bg1"/>
              </a:buCl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647340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Freeform 3"/>
          <p:cNvSpPr/>
          <p:nvPr userDrawn="1"/>
        </p:nvSpPr>
        <p:spPr bwMode="auto">
          <a:xfrm>
            <a:off x="6661150" y="0"/>
            <a:ext cx="2503488" cy="6858000"/>
          </a:xfrm>
          <a:custGeom>
            <a:avLst/>
            <a:gdLst>
              <a:gd name="connsiteX0" fmla="*/ 2241550 w 2503488"/>
              <a:gd name="connsiteY0" fmla="*/ 0 h 6858000"/>
              <a:gd name="connsiteX1" fmla="*/ 2503488 w 2503488"/>
              <a:gd name="connsiteY1" fmla="*/ 0 h 6858000"/>
              <a:gd name="connsiteX2" fmla="*/ 2503488 w 2503488"/>
              <a:gd name="connsiteY2" fmla="*/ 1701800 h 6858000"/>
              <a:gd name="connsiteX3" fmla="*/ 2491822 w 2503488"/>
              <a:gd name="connsiteY3" fmla="*/ 1681541 h 6858000"/>
              <a:gd name="connsiteX4" fmla="*/ 2491822 w 2503488"/>
              <a:gd name="connsiteY4" fmla="*/ 1681542 h 6858000"/>
              <a:gd name="connsiteX5" fmla="*/ 2503488 w 2503488"/>
              <a:gd name="connsiteY5" fmla="*/ 1701801 h 6858000"/>
              <a:gd name="connsiteX6" fmla="*/ 2503488 w 2503488"/>
              <a:gd name="connsiteY6" fmla="*/ 3879850 h 6858000"/>
              <a:gd name="connsiteX7" fmla="*/ 2503488 w 2503488"/>
              <a:gd name="connsiteY7" fmla="*/ 3879851 h 6858000"/>
              <a:gd name="connsiteX8" fmla="*/ 2503488 w 2503488"/>
              <a:gd name="connsiteY8" fmla="*/ 6057900 h 6858000"/>
              <a:gd name="connsiteX9" fmla="*/ 2039938 w 2503488"/>
              <a:gd name="connsiteY9" fmla="*/ 6858000 h 6858000"/>
              <a:gd name="connsiteX10" fmla="*/ 1722438 w 2503488"/>
              <a:gd name="connsiteY10" fmla="*/ 6858000 h 6858000"/>
              <a:gd name="connsiteX11" fmla="*/ 1 w 2503488"/>
              <a:gd name="connsiteY11" fmla="*/ 3879851 h 6858000"/>
              <a:gd name="connsiteX12" fmla="*/ 0 w 2503488"/>
              <a:gd name="connsiteY12" fmla="*/ 3879851 h 6858000"/>
              <a:gd name="connsiteX13" fmla="*/ 0 w 2503488"/>
              <a:gd name="connsiteY13" fmla="*/ 3879850 h 6858000"/>
              <a:gd name="connsiteX14" fmla="*/ 1 w 2503488"/>
              <a:gd name="connsiteY14" fmla="*/ 3879850 h 6858000"/>
              <a:gd name="connsiteX15" fmla="*/ 1722691 w 2503488"/>
              <a:gd name="connsiteY15" fmla="*/ 900729 h 6858000"/>
              <a:gd name="connsiteX16" fmla="*/ 1766524 w 2503488"/>
              <a:gd name="connsiteY16" fmla="*/ 824925 h 6858000"/>
              <a:gd name="connsiteX17" fmla="*/ 1882775 w 2503488"/>
              <a:gd name="connsiteY17" fmla="*/ 623888 h 6858000"/>
              <a:gd name="connsiteX18" fmla="*/ 1902681 w 2503488"/>
              <a:gd name="connsiteY18" fmla="*/ 658455 h 6858000"/>
              <a:gd name="connsiteX19" fmla="*/ 1882775 w 2503488"/>
              <a:gd name="connsiteY19" fmla="*/ 623887 h 6858000"/>
              <a:gd name="connsiteX20" fmla="*/ 2241550 w 2503488"/>
              <a:gd name="connsiteY20"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491822 w 2503488"/>
              <a:gd name="connsiteY3" fmla="*/ 1681541 h 6858000"/>
              <a:gd name="connsiteX4" fmla="*/ 2503488 w 2503488"/>
              <a:gd name="connsiteY4" fmla="*/ 1701801 h 6858000"/>
              <a:gd name="connsiteX5" fmla="*/ 2503488 w 2503488"/>
              <a:gd name="connsiteY5" fmla="*/ 3879850 h 6858000"/>
              <a:gd name="connsiteX6" fmla="*/ 2503488 w 2503488"/>
              <a:gd name="connsiteY6" fmla="*/ 3879851 h 6858000"/>
              <a:gd name="connsiteX7" fmla="*/ 2503488 w 2503488"/>
              <a:gd name="connsiteY7" fmla="*/ 6057900 h 6858000"/>
              <a:gd name="connsiteX8" fmla="*/ 2039938 w 2503488"/>
              <a:gd name="connsiteY8" fmla="*/ 6858000 h 6858000"/>
              <a:gd name="connsiteX9" fmla="*/ 1722438 w 2503488"/>
              <a:gd name="connsiteY9" fmla="*/ 6858000 h 6858000"/>
              <a:gd name="connsiteX10" fmla="*/ 1 w 2503488"/>
              <a:gd name="connsiteY10" fmla="*/ 3879851 h 6858000"/>
              <a:gd name="connsiteX11" fmla="*/ 0 w 2503488"/>
              <a:gd name="connsiteY11" fmla="*/ 3879851 h 6858000"/>
              <a:gd name="connsiteX12" fmla="*/ 0 w 2503488"/>
              <a:gd name="connsiteY12" fmla="*/ 3879850 h 6858000"/>
              <a:gd name="connsiteX13" fmla="*/ 1 w 2503488"/>
              <a:gd name="connsiteY13" fmla="*/ 3879850 h 6858000"/>
              <a:gd name="connsiteX14" fmla="*/ 1722691 w 2503488"/>
              <a:gd name="connsiteY14" fmla="*/ 900729 h 6858000"/>
              <a:gd name="connsiteX15" fmla="*/ 1766524 w 2503488"/>
              <a:gd name="connsiteY15" fmla="*/ 824925 h 6858000"/>
              <a:gd name="connsiteX16" fmla="*/ 1882775 w 2503488"/>
              <a:gd name="connsiteY16" fmla="*/ 623888 h 6858000"/>
              <a:gd name="connsiteX17" fmla="*/ 1902681 w 2503488"/>
              <a:gd name="connsiteY17" fmla="*/ 658455 h 6858000"/>
              <a:gd name="connsiteX18" fmla="*/ 1882775 w 2503488"/>
              <a:gd name="connsiteY18" fmla="*/ 623887 h 6858000"/>
              <a:gd name="connsiteX19" fmla="*/ 2241550 w 2503488"/>
              <a:gd name="connsiteY19"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503488 w 2503488"/>
              <a:gd name="connsiteY3" fmla="*/ 1701801 h 6858000"/>
              <a:gd name="connsiteX4" fmla="*/ 2503488 w 2503488"/>
              <a:gd name="connsiteY4" fmla="*/ 3879850 h 6858000"/>
              <a:gd name="connsiteX5" fmla="*/ 2503488 w 2503488"/>
              <a:gd name="connsiteY5" fmla="*/ 3879851 h 6858000"/>
              <a:gd name="connsiteX6" fmla="*/ 2503488 w 2503488"/>
              <a:gd name="connsiteY6" fmla="*/ 6057900 h 6858000"/>
              <a:gd name="connsiteX7" fmla="*/ 2039938 w 2503488"/>
              <a:gd name="connsiteY7" fmla="*/ 6858000 h 6858000"/>
              <a:gd name="connsiteX8" fmla="*/ 1722438 w 2503488"/>
              <a:gd name="connsiteY8" fmla="*/ 6858000 h 6858000"/>
              <a:gd name="connsiteX9" fmla="*/ 1 w 2503488"/>
              <a:gd name="connsiteY9" fmla="*/ 3879851 h 6858000"/>
              <a:gd name="connsiteX10" fmla="*/ 0 w 2503488"/>
              <a:gd name="connsiteY10" fmla="*/ 3879851 h 6858000"/>
              <a:gd name="connsiteX11" fmla="*/ 0 w 2503488"/>
              <a:gd name="connsiteY11" fmla="*/ 3879850 h 6858000"/>
              <a:gd name="connsiteX12" fmla="*/ 1 w 2503488"/>
              <a:gd name="connsiteY12" fmla="*/ 3879850 h 6858000"/>
              <a:gd name="connsiteX13" fmla="*/ 1722691 w 2503488"/>
              <a:gd name="connsiteY13" fmla="*/ 900729 h 6858000"/>
              <a:gd name="connsiteX14" fmla="*/ 1766524 w 2503488"/>
              <a:gd name="connsiteY14" fmla="*/ 824925 h 6858000"/>
              <a:gd name="connsiteX15" fmla="*/ 1882775 w 2503488"/>
              <a:gd name="connsiteY15" fmla="*/ 623888 h 6858000"/>
              <a:gd name="connsiteX16" fmla="*/ 1902681 w 2503488"/>
              <a:gd name="connsiteY16" fmla="*/ 658455 h 6858000"/>
              <a:gd name="connsiteX17" fmla="*/ 1882775 w 2503488"/>
              <a:gd name="connsiteY17" fmla="*/ 623887 h 6858000"/>
              <a:gd name="connsiteX18" fmla="*/ 2241550 w 2503488"/>
              <a:gd name="connsiteY18"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503488 w 2503488"/>
              <a:gd name="connsiteY3" fmla="*/ 3879850 h 6858000"/>
              <a:gd name="connsiteX4" fmla="*/ 2503488 w 2503488"/>
              <a:gd name="connsiteY4" fmla="*/ 3879851 h 6858000"/>
              <a:gd name="connsiteX5" fmla="*/ 2503488 w 2503488"/>
              <a:gd name="connsiteY5" fmla="*/ 6057900 h 6858000"/>
              <a:gd name="connsiteX6" fmla="*/ 2039938 w 2503488"/>
              <a:gd name="connsiteY6" fmla="*/ 6858000 h 6858000"/>
              <a:gd name="connsiteX7" fmla="*/ 1722438 w 2503488"/>
              <a:gd name="connsiteY7" fmla="*/ 6858000 h 6858000"/>
              <a:gd name="connsiteX8" fmla="*/ 1 w 2503488"/>
              <a:gd name="connsiteY8" fmla="*/ 3879851 h 6858000"/>
              <a:gd name="connsiteX9" fmla="*/ 0 w 2503488"/>
              <a:gd name="connsiteY9" fmla="*/ 3879851 h 6858000"/>
              <a:gd name="connsiteX10" fmla="*/ 0 w 2503488"/>
              <a:gd name="connsiteY10" fmla="*/ 3879850 h 6858000"/>
              <a:gd name="connsiteX11" fmla="*/ 1 w 2503488"/>
              <a:gd name="connsiteY11" fmla="*/ 3879850 h 6858000"/>
              <a:gd name="connsiteX12" fmla="*/ 1722691 w 2503488"/>
              <a:gd name="connsiteY12" fmla="*/ 900729 h 6858000"/>
              <a:gd name="connsiteX13" fmla="*/ 1766524 w 2503488"/>
              <a:gd name="connsiteY13" fmla="*/ 824925 h 6858000"/>
              <a:gd name="connsiteX14" fmla="*/ 1882775 w 2503488"/>
              <a:gd name="connsiteY14" fmla="*/ 623888 h 6858000"/>
              <a:gd name="connsiteX15" fmla="*/ 1902681 w 2503488"/>
              <a:gd name="connsiteY15" fmla="*/ 658455 h 6858000"/>
              <a:gd name="connsiteX16" fmla="*/ 1882775 w 2503488"/>
              <a:gd name="connsiteY16" fmla="*/ 623887 h 6858000"/>
              <a:gd name="connsiteX17" fmla="*/ 2241550 w 2503488"/>
              <a:gd name="connsiteY17"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1902681 w 2503488"/>
              <a:gd name="connsiteY14" fmla="*/ 658455 h 6858000"/>
              <a:gd name="connsiteX15" fmla="*/ 1882775 w 2503488"/>
              <a:gd name="connsiteY15" fmla="*/ 623887 h 6858000"/>
              <a:gd name="connsiteX16" fmla="*/ 2241550 w 2503488"/>
              <a:gd name="connsiteY16"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1882775 w 2503488"/>
              <a:gd name="connsiteY14" fmla="*/ 623887 h 6858000"/>
              <a:gd name="connsiteX15" fmla="*/ 2241550 w 2503488"/>
              <a:gd name="connsiteY15"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2241550 w 2503488"/>
              <a:gd name="connsiteY14"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2241550 w 2503488"/>
              <a:gd name="connsiteY13"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66524 w 2503488"/>
              <a:gd name="connsiteY11" fmla="*/ 824925 h 6858000"/>
              <a:gd name="connsiteX12" fmla="*/ 2241550 w 2503488"/>
              <a:gd name="connsiteY12"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3488" h="6858000">
                <a:moveTo>
                  <a:pt x="2241550" y="0"/>
                </a:moveTo>
                <a:lnTo>
                  <a:pt x="2503488" y="0"/>
                </a:lnTo>
                <a:lnTo>
                  <a:pt x="2503488" y="3879850"/>
                </a:lnTo>
                <a:lnTo>
                  <a:pt x="2503488" y="3879851"/>
                </a:lnTo>
                <a:lnTo>
                  <a:pt x="2503488" y="6057900"/>
                </a:lnTo>
                <a:lnTo>
                  <a:pt x="2039938" y="6858000"/>
                </a:lnTo>
                <a:lnTo>
                  <a:pt x="1722438" y="6858000"/>
                </a:lnTo>
                <a:lnTo>
                  <a:pt x="1" y="3879851"/>
                </a:lnTo>
                <a:lnTo>
                  <a:pt x="0" y="3879851"/>
                </a:lnTo>
                <a:lnTo>
                  <a:pt x="0" y="3879850"/>
                </a:lnTo>
                <a:lnTo>
                  <a:pt x="1" y="3879850"/>
                </a:lnTo>
                <a:lnTo>
                  <a:pt x="1766524" y="824925"/>
                </a:lnTo>
                <a:lnTo>
                  <a:pt x="2241550"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5" name="Freeform 6"/>
          <p:cNvSpPr>
            <a:spLocks/>
          </p:cNvSpPr>
          <p:nvPr userDrawn="1"/>
        </p:nvSpPr>
        <p:spPr bwMode="auto">
          <a:xfrm>
            <a:off x="4420553" y="0"/>
            <a:ext cx="4742180" cy="3877946"/>
          </a:xfrm>
          <a:custGeom>
            <a:avLst/>
            <a:gdLst>
              <a:gd name="connsiteX0" fmla="*/ 0 w 4742180"/>
              <a:gd name="connsiteY0" fmla="*/ 0 h 3877946"/>
              <a:gd name="connsiteX1" fmla="*/ 3760788 w 4742180"/>
              <a:gd name="connsiteY1" fmla="*/ 0 h 3877946"/>
              <a:gd name="connsiteX2" fmla="*/ 4120670 w 4742180"/>
              <a:gd name="connsiteY2" fmla="*/ 623361 h 3877946"/>
              <a:gd name="connsiteX3" fmla="*/ 4121467 w 4742180"/>
              <a:gd name="connsiteY3" fmla="*/ 621983 h 3877946"/>
              <a:gd name="connsiteX4" fmla="*/ 4742180 w 4742180"/>
              <a:gd name="connsiteY4" fmla="*/ 1699896 h 3877946"/>
              <a:gd name="connsiteX5" fmla="*/ 4742180 w 4742180"/>
              <a:gd name="connsiteY5" fmla="*/ 3877946 h 3877946"/>
              <a:gd name="connsiteX6" fmla="*/ 2238693 w 4742180"/>
              <a:gd name="connsiteY6" fmla="*/ 3877946 h 3877946"/>
              <a:gd name="connsiteX7" fmla="*/ 2238692 w 4742180"/>
              <a:gd name="connsiteY7" fmla="*/ 3877946 h 3877946"/>
              <a:gd name="connsiteX8" fmla="*/ 2238692 w 4742180"/>
              <a:gd name="connsiteY8" fmla="*/ 3877945 h 3877946"/>
              <a:gd name="connsiteX9" fmla="*/ 2238693 w 4742180"/>
              <a:gd name="connsiteY9" fmla="*/ 3877945 h 3877946"/>
              <a:gd name="connsiteX10" fmla="*/ 2238778 w 4742180"/>
              <a:gd name="connsiteY10" fmla="*/ 3877798 h 3877946"/>
              <a:gd name="connsiteX11" fmla="*/ 0 w 4742180"/>
              <a:gd name="connsiteY11" fmla="*/ 0 h 3877946"/>
              <a:gd name="connsiteX0" fmla="*/ 0 w 4742180"/>
              <a:gd name="connsiteY0" fmla="*/ 0 h 3877946"/>
              <a:gd name="connsiteX1" fmla="*/ 3760788 w 4742180"/>
              <a:gd name="connsiteY1" fmla="*/ 0 h 3877946"/>
              <a:gd name="connsiteX2" fmla="*/ 4120670 w 4742180"/>
              <a:gd name="connsiteY2" fmla="*/ 623361 h 3877946"/>
              <a:gd name="connsiteX3" fmla="*/ 4742180 w 4742180"/>
              <a:gd name="connsiteY3" fmla="*/ 1699896 h 3877946"/>
              <a:gd name="connsiteX4" fmla="*/ 4742180 w 4742180"/>
              <a:gd name="connsiteY4" fmla="*/ 3877946 h 3877946"/>
              <a:gd name="connsiteX5" fmla="*/ 2238693 w 4742180"/>
              <a:gd name="connsiteY5" fmla="*/ 3877946 h 3877946"/>
              <a:gd name="connsiteX6" fmla="*/ 2238692 w 4742180"/>
              <a:gd name="connsiteY6" fmla="*/ 3877946 h 3877946"/>
              <a:gd name="connsiteX7" fmla="*/ 2238692 w 4742180"/>
              <a:gd name="connsiteY7" fmla="*/ 3877945 h 3877946"/>
              <a:gd name="connsiteX8" fmla="*/ 2238693 w 4742180"/>
              <a:gd name="connsiteY8" fmla="*/ 3877945 h 3877946"/>
              <a:gd name="connsiteX9" fmla="*/ 2238778 w 4742180"/>
              <a:gd name="connsiteY9" fmla="*/ 3877798 h 3877946"/>
              <a:gd name="connsiteX10" fmla="*/ 0 w 4742180"/>
              <a:gd name="connsiteY10" fmla="*/ 0 h 3877946"/>
              <a:gd name="connsiteX0" fmla="*/ 0 w 4742180"/>
              <a:gd name="connsiteY0" fmla="*/ 0 h 3877946"/>
              <a:gd name="connsiteX1" fmla="*/ 3760788 w 4742180"/>
              <a:gd name="connsiteY1" fmla="*/ 0 h 3877946"/>
              <a:gd name="connsiteX2" fmla="*/ 4742180 w 4742180"/>
              <a:gd name="connsiteY2" fmla="*/ 1699896 h 3877946"/>
              <a:gd name="connsiteX3" fmla="*/ 4742180 w 4742180"/>
              <a:gd name="connsiteY3" fmla="*/ 3877946 h 3877946"/>
              <a:gd name="connsiteX4" fmla="*/ 2238693 w 4742180"/>
              <a:gd name="connsiteY4" fmla="*/ 3877946 h 3877946"/>
              <a:gd name="connsiteX5" fmla="*/ 2238692 w 4742180"/>
              <a:gd name="connsiteY5" fmla="*/ 3877946 h 3877946"/>
              <a:gd name="connsiteX6" fmla="*/ 2238692 w 4742180"/>
              <a:gd name="connsiteY6" fmla="*/ 3877945 h 3877946"/>
              <a:gd name="connsiteX7" fmla="*/ 2238693 w 4742180"/>
              <a:gd name="connsiteY7" fmla="*/ 3877945 h 3877946"/>
              <a:gd name="connsiteX8" fmla="*/ 2238778 w 4742180"/>
              <a:gd name="connsiteY8" fmla="*/ 3877798 h 3877946"/>
              <a:gd name="connsiteX9" fmla="*/ 0 w 4742180"/>
              <a:gd name="connsiteY9" fmla="*/ 0 h 387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2180" h="3877946">
                <a:moveTo>
                  <a:pt x="0" y="0"/>
                </a:moveTo>
                <a:lnTo>
                  <a:pt x="3760788" y="0"/>
                </a:lnTo>
                <a:lnTo>
                  <a:pt x="4742180" y="1699896"/>
                </a:lnTo>
                <a:lnTo>
                  <a:pt x="4742180" y="3877946"/>
                </a:lnTo>
                <a:lnTo>
                  <a:pt x="2238693" y="3877946"/>
                </a:lnTo>
                <a:lnTo>
                  <a:pt x="2238692" y="3877946"/>
                </a:lnTo>
                <a:lnTo>
                  <a:pt x="2238692" y="3877945"/>
                </a:lnTo>
                <a:lnTo>
                  <a:pt x="2238693" y="3877945"/>
                </a:lnTo>
                <a:cubicBezTo>
                  <a:pt x="2238721" y="3877896"/>
                  <a:pt x="2238750" y="3877847"/>
                  <a:pt x="2238778" y="3877798"/>
                </a:cubicBezTo>
                <a:lnTo>
                  <a:pt x="0" y="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8" name="Freeform 6"/>
          <p:cNvSpPr>
            <a:spLocks/>
          </p:cNvSpPr>
          <p:nvPr userDrawn="1"/>
        </p:nvSpPr>
        <p:spPr bwMode="auto">
          <a:xfrm>
            <a:off x="6661150" y="623888"/>
            <a:ext cx="2503488" cy="3255963"/>
          </a:xfrm>
          <a:custGeom>
            <a:avLst/>
            <a:gdLst>
              <a:gd name="T0" fmla="*/ 0 w 1577"/>
              <a:gd name="T1" fmla="*/ 2051 h 2051"/>
              <a:gd name="T2" fmla="*/ 1577 w 1577"/>
              <a:gd name="T3" fmla="*/ 2051 h 2051"/>
              <a:gd name="T4" fmla="*/ 1577 w 1577"/>
              <a:gd name="T5" fmla="*/ 679 h 2051"/>
              <a:gd name="T6" fmla="*/ 1186 w 1577"/>
              <a:gd name="T7" fmla="*/ 0 h 2051"/>
              <a:gd name="T8" fmla="*/ 0 w 1577"/>
              <a:gd name="T9" fmla="*/ 2051 h 2051"/>
            </a:gdLst>
            <a:ahLst/>
            <a:cxnLst>
              <a:cxn ang="0">
                <a:pos x="T0" y="T1"/>
              </a:cxn>
              <a:cxn ang="0">
                <a:pos x="T2" y="T3"/>
              </a:cxn>
              <a:cxn ang="0">
                <a:pos x="T4" y="T5"/>
              </a:cxn>
              <a:cxn ang="0">
                <a:pos x="T6" y="T7"/>
              </a:cxn>
              <a:cxn ang="0">
                <a:pos x="T8" y="T9"/>
              </a:cxn>
            </a:cxnLst>
            <a:rect l="0" t="0" r="r" b="b"/>
            <a:pathLst>
              <a:path w="1577" h="2051">
                <a:moveTo>
                  <a:pt x="0" y="2051"/>
                </a:moveTo>
                <a:lnTo>
                  <a:pt x="1577" y="2051"/>
                </a:lnTo>
                <a:lnTo>
                  <a:pt x="1577" y="679"/>
                </a:lnTo>
                <a:lnTo>
                  <a:pt x="1186" y="0"/>
                </a:lnTo>
                <a:lnTo>
                  <a:pt x="0" y="2051"/>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221996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2648584"/>
            <a:ext cx="5667534" cy="1470025"/>
          </a:xfrm>
        </p:spPr>
        <p:txBody>
          <a:bodyPr anchor="b"/>
          <a:lstStyle>
            <a:lvl1pPr>
              <a:defRPr sz="400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67506" y="4161551"/>
            <a:ext cx="5669280" cy="488157"/>
          </a:xfrm>
        </p:spPr>
        <p:txBody>
          <a:bodyPr anchor="t"/>
          <a:lstStyle>
            <a:lvl1pPr marL="0" indent="0" algn="l">
              <a:buNone/>
              <a:defRPr sz="28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65" name="Text Placeholder 64"/>
          <p:cNvSpPr>
            <a:spLocks noGrp="1"/>
          </p:cNvSpPr>
          <p:nvPr>
            <p:ph type="body" sz="quarter" idx="10" hasCustomPrompt="1"/>
          </p:nvPr>
        </p:nvSpPr>
        <p:spPr>
          <a:xfrm>
            <a:off x="367506" y="4673918"/>
            <a:ext cx="5669280" cy="345122"/>
          </a:xfrm>
        </p:spPr>
        <p:txBody>
          <a:bodyPr>
            <a:noAutofit/>
          </a:bodyPr>
          <a:lstStyle>
            <a:lvl1pPr marL="0" indent="0">
              <a:buNone/>
              <a:defRPr b="0">
                <a:solidFill>
                  <a:schemeClr val="tx1"/>
                </a:solidFill>
              </a:defRPr>
            </a:lvl1pPr>
          </a:lstStyle>
          <a:p>
            <a:pPr lvl="0"/>
            <a:r>
              <a:rPr lang="en-US" b="0" dirty="0"/>
              <a:t>Date</a:t>
            </a:r>
            <a:endParaRPr lang="en-US" dirty="0"/>
          </a:p>
        </p:txBody>
      </p:sp>
      <p:grpSp>
        <p:nvGrpSpPr>
          <p:cNvPr id="30" name="Group 29"/>
          <p:cNvGrpSpPr/>
          <p:nvPr userDrawn="1"/>
        </p:nvGrpSpPr>
        <p:grpSpPr>
          <a:xfrm>
            <a:off x="374651" y="6029325"/>
            <a:ext cx="2054224" cy="403225"/>
            <a:chOff x="374651" y="6029325"/>
            <a:chExt cx="2054224" cy="403225"/>
          </a:xfrm>
        </p:grpSpPr>
        <p:sp>
          <p:nvSpPr>
            <p:cNvPr id="28"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7"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9" name="Freeform 8"/>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0" name="Freeform 9"/>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1" name="Freeform 10"/>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2" name="Freeform 11"/>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3" name="Freeform 12"/>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4" name="Freeform 13"/>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6"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7"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8"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9"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0"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1"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5"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6"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2"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3142717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1" name="Text Placeholder 2"/>
          <p:cNvSpPr>
            <a:spLocks noGrp="1"/>
          </p:cNvSpPr>
          <p:nvPr>
            <p:ph type="body" sz="quarter" idx="24"/>
            <p:custDataLst>
              <p:tags r:id="rId1"/>
            </p:custDataLst>
          </p:nvPr>
        </p:nvSpPr>
        <p:spPr>
          <a:xfrm>
            <a:off x="366712" y="1290279"/>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2" name="Text Placeholder 2"/>
          <p:cNvSpPr>
            <a:spLocks noGrp="1"/>
          </p:cNvSpPr>
          <p:nvPr>
            <p:ph type="body" sz="quarter" idx="25"/>
            <p:custDataLst>
              <p:tags r:id="rId2"/>
            </p:custDataLst>
          </p:nvPr>
        </p:nvSpPr>
        <p:spPr>
          <a:xfrm>
            <a:off x="366712" y="1933675"/>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3" name="Text Placeholder 2"/>
          <p:cNvSpPr>
            <a:spLocks noGrp="1"/>
          </p:cNvSpPr>
          <p:nvPr>
            <p:ph type="body" sz="quarter" idx="26"/>
            <p:custDataLst>
              <p:tags r:id="rId3"/>
            </p:custDataLst>
          </p:nvPr>
        </p:nvSpPr>
        <p:spPr>
          <a:xfrm>
            <a:off x="366712" y="2577071"/>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4" name="Text Placeholder 2"/>
          <p:cNvSpPr>
            <a:spLocks noGrp="1"/>
          </p:cNvSpPr>
          <p:nvPr>
            <p:ph type="body" sz="quarter" idx="27"/>
            <p:custDataLst>
              <p:tags r:id="rId4"/>
            </p:custDataLst>
          </p:nvPr>
        </p:nvSpPr>
        <p:spPr>
          <a:xfrm>
            <a:off x="366712" y="3220467"/>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5" name="Text Placeholder 2"/>
          <p:cNvSpPr>
            <a:spLocks noGrp="1"/>
          </p:cNvSpPr>
          <p:nvPr>
            <p:ph type="body" sz="quarter" idx="28"/>
            <p:custDataLst>
              <p:tags r:id="rId5"/>
            </p:custDataLst>
          </p:nvPr>
        </p:nvSpPr>
        <p:spPr>
          <a:xfrm>
            <a:off x="366712" y="3863863"/>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6" name="Text Placeholder 2"/>
          <p:cNvSpPr>
            <a:spLocks noGrp="1"/>
          </p:cNvSpPr>
          <p:nvPr>
            <p:ph type="body" sz="quarter" idx="29"/>
            <p:custDataLst>
              <p:tags r:id="rId6"/>
            </p:custDataLst>
          </p:nvPr>
        </p:nvSpPr>
        <p:spPr>
          <a:xfrm>
            <a:off x="366712" y="4507258"/>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7" name="Text Placeholder 2"/>
          <p:cNvSpPr>
            <a:spLocks noGrp="1"/>
          </p:cNvSpPr>
          <p:nvPr>
            <p:ph type="body" sz="quarter" idx="30"/>
            <p:custDataLst>
              <p:tags r:id="rId7"/>
            </p:custDataLst>
          </p:nvPr>
        </p:nvSpPr>
        <p:spPr>
          <a:xfrm>
            <a:off x="366712" y="5150652"/>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2" name="Title 1"/>
          <p:cNvSpPr>
            <a:spLocks noGrp="1"/>
          </p:cNvSpPr>
          <p:nvPr>
            <p:ph type="title"/>
          </p:nvPr>
        </p:nvSpPr>
        <p:spPr>
          <a:xfrm>
            <a:off x="363538" y="629512"/>
            <a:ext cx="8432800" cy="347472"/>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pPr>
              <a:defRPr/>
            </a:pPr>
            <a:fld id="{91D03FF3-2B9E-4617-A592-48F56EC63E6E}" type="slidenum">
              <a:rPr lang="en-US">
                <a:solidFill>
                  <a:srgbClr val="38454F"/>
                </a:solidFill>
              </a:rPr>
              <a:pPr>
                <a:defRPr/>
              </a:pPr>
              <a:t>‹#›</a:t>
            </a:fld>
            <a:endParaRPr lang="en-US" dirty="0">
              <a:solidFill>
                <a:srgbClr val="38454F"/>
              </a:solidFill>
            </a:endParaRPr>
          </a:p>
        </p:txBody>
      </p:sp>
      <p:sp>
        <p:nvSpPr>
          <p:cNvPr id="61" name="Text Placeholder 60"/>
          <p:cNvSpPr>
            <a:spLocks noGrp="1"/>
          </p:cNvSpPr>
          <p:nvPr>
            <p:ph type="body" sz="quarter" idx="12" hasCustomPrompt="1"/>
          </p:nvPr>
        </p:nvSpPr>
        <p:spPr>
          <a:xfrm>
            <a:off x="366713" y="1290279"/>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lvl1pPr marL="0" indent="0">
              <a:buFont typeface="Arial" panose="020B0604020202020204" pitchFamily="34" charset="0"/>
              <a:buChar char="​"/>
              <a:defRPr lang="en-US" sz="2400" b="1" dirty="0" smtClean="0">
                <a:solidFill>
                  <a:schemeClr val="bg1"/>
                </a:solidFill>
                <a:latin typeface="Arial" panose="020B0604020202020204" pitchFamily="34" charset="0"/>
                <a:cs typeface="Arial" panose="020B0604020202020204" pitchFamily="34" charset="0"/>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marL="1595437" indent="0">
              <a:buNone/>
              <a:defRPr lang="en-US" dirty="0">
                <a:solidFill>
                  <a:schemeClr val="lt1"/>
                </a:solidFill>
              </a:defRPr>
            </a:lvl5pPr>
          </a:lstStyle>
          <a:p>
            <a:pPr lvl="0" algn="ctr">
              <a:spcBef>
                <a:spcPct val="0"/>
              </a:spcBef>
            </a:pPr>
            <a:r>
              <a:rPr lang="en-US" dirty="0"/>
              <a:t>#</a:t>
            </a:r>
          </a:p>
        </p:txBody>
      </p:sp>
      <p:sp>
        <p:nvSpPr>
          <p:cNvPr id="63" name="Text Placeholder 60"/>
          <p:cNvSpPr>
            <a:spLocks noGrp="1"/>
          </p:cNvSpPr>
          <p:nvPr>
            <p:ph type="body" sz="quarter" idx="13" hasCustomPrompt="1"/>
          </p:nvPr>
        </p:nvSpPr>
        <p:spPr>
          <a:xfrm>
            <a:off x="366713" y="1934469"/>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4" name="Text Placeholder 60"/>
          <p:cNvSpPr>
            <a:spLocks noGrp="1"/>
          </p:cNvSpPr>
          <p:nvPr>
            <p:ph type="body" sz="quarter" idx="14" hasCustomPrompt="1"/>
          </p:nvPr>
        </p:nvSpPr>
        <p:spPr>
          <a:xfrm>
            <a:off x="366713" y="25778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5" name="Text Placeholder 60"/>
          <p:cNvSpPr>
            <a:spLocks noGrp="1"/>
          </p:cNvSpPr>
          <p:nvPr>
            <p:ph type="body" sz="quarter" idx="15" hasCustomPrompt="1"/>
          </p:nvPr>
        </p:nvSpPr>
        <p:spPr>
          <a:xfrm>
            <a:off x="366713" y="32214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6" name="Text Placeholder 60"/>
          <p:cNvSpPr>
            <a:spLocks noGrp="1"/>
          </p:cNvSpPr>
          <p:nvPr>
            <p:ph type="body" sz="quarter" idx="16" hasCustomPrompt="1"/>
          </p:nvPr>
        </p:nvSpPr>
        <p:spPr>
          <a:xfrm>
            <a:off x="366713" y="38650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7" name="Text Placeholder 60"/>
          <p:cNvSpPr>
            <a:spLocks noGrp="1"/>
          </p:cNvSpPr>
          <p:nvPr>
            <p:ph type="body" sz="quarter" idx="17" hasCustomPrompt="1"/>
          </p:nvPr>
        </p:nvSpPr>
        <p:spPr>
          <a:xfrm>
            <a:off x="366713" y="45086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8" name="Text Placeholder 60"/>
          <p:cNvSpPr>
            <a:spLocks noGrp="1"/>
          </p:cNvSpPr>
          <p:nvPr>
            <p:ph type="body" sz="quarter" idx="18" hasCustomPrompt="1"/>
          </p:nvPr>
        </p:nvSpPr>
        <p:spPr>
          <a:xfrm>
            <a:off x="366713" y="5152240"/>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Tree>
    <p:extLst>
      <p:ext uri="{BB962C8B-B14F-4D97-AF65-F5344CB8AC3E}">
        <p14:creationId xmlns:p14="http://schemas.microsoft.com/office/powerpoint/2010/main" val="178372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432800" cy="347472"/>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pPr>
              <a:defRPr/>
            </a:pPr>
            <a:fld id="{91D03FF3-2B9E-4617-A592-48F56EC63E6E}" type="slidenum">
              <a:rPr lang="en-US">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2158186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5"/>
          <p:cNvSpPr>
            <a:spLocks noGrp="1" noChangeAspect="1"/>
          </p:cNvSpPr>
          <p:nvPr>
            <p:ph type="sldNum" sz="quarter" idx="11"/>
          </p:nvPr>
        </p:nvSpPr>
        <p:spPr/>
        <p:txBody>
          <a:bodyPr/>
          <a:lstStyle>
            <a:lvl1pPr>
              <a:defRPr/>
            </a:lvl1pPr>
          </a:lstStyle>
          <a:p>
            <a:pPr>
              <a:defRPr/>
            </a:pPr>
            <a:fld id="{0EE25AFF-DC43-4D65-915F-22B9B4081F3B}" type="slidenum">
              <a:rPr lang="en-US">
                <a:solidFill>
                  <a:srgbClr val="4D4D4F"/>
                </a:solidFill>
              </a:rPr>
              <a:pPr>
                <a:defRPr/>
              </a:pPr>
              <a:t>‹#›</a:t>
            </a:fld>
            <a:endParaRPr lang="en-US" dirty="0">
              <a:solidFill>
                <a:srgbClr val="4D4D4F"/>
              </a:solidFill>
            </a:endParaRPr>
          </a:p>
        </p:txBody>
      </p:sp>
    </p:spTree>
    <p:extLst>
      <p:ext uri="{BB962C8B-B14F-4D97-AF65-F5344CB8AC3E}">
        <p14:creationId xmlns:p14="http://schemas.microsoft.com/office/powerpoint/2010/main" val="316472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a:solidFill>
                  <a:srgbClr val="38454F"/>
                </a:solidFill>
              </a:rPr>
              <a:pPr/>
              <a:t>‹#›</a:t>
            </a:fld>
            <a:endParaRPr lang="en-US">
              <a:solidFill>
                <a:srgbClr val="38454F"/>
              </a:solidFill>
            </a:endParaRPr>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373028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with Tab">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a:solidFill>
                  <a:srgbClr val="38454F"/>
                </a:solidFill>
              </a:rPr>
              <a:pPr/>
              <a:t>‹#›</a:t>
            </a:fld>
            <a:endParaRPr lang="en-US">
              <a:solidFill>
                <a:srgbClr val="38454F"/>
              </a:solidFill>
            </a:endParaRPr>
          </a:p>
        </p:txBody>
      </p:sp>
      <p:sp>
        <p:nvSpPr>
          <p:cNvPr id="5" name="Flowchart: Data 4"/>
          <p:cNvSpPr/>
          <p:nvPr userDrawn="1"/>
        </p:nvSpPr>
        <p:spPr bwMode="auto">
          <a:xfrm>
            <a:off x="0" y="0"/>
            <a:ext cx="3558474" cy="461430"/>
          </a:xfrm>
          <a:custGeom>
            <a:avLst/>
            <a:gdLst/>
            <a:ahLst/>
            <a:cxnLst/>
            <a:rect l="l" t="t" r="r" b="b"/>
            <a:pathLst>
              <a:path w="3558474" h="461430">
                <a:moveTo>
                  <a:pt x="0" y="0"/>
                </a:moveTo>
                <a:lnTo>
                  <a:pt x="3558474" y="0"/>
                </a:lnTo>
                <a:lnTo>
                  <a:pt x="3294039" y="461430"/>
                </a:lnTo>
                <a:lnTo>
                  <a:pt x="0" y="461430"/>
                </a:lnTo>
                <a:close/>
              </a:path>
            </a:pathLst>
          </a:custGeom>
          <a:solidFill>
            <a:schemeClr val="accent1"/>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9" name="Text Placeholder 8"/>
          <p:cNvSpPr>
            <a:spLocks noGrp="1"/>
          </p:cNvSpPr>
          <p:nvPr>
            <p:ph type="body" sz="quarter" idx="13"/>
          </p:nvPr>
        </p:nvSpPr>
        <p:spPr>
          <a:xfrm>
            <a:off x="371475" y="0"/>
            <a:ext cx="3008313" cy="461963"/>
          </a:xfrm>
        </p:spPr>
        <p:txBody>
          <a:bodyPr anchor="ctr" anchorCtr="0">
            <a:noAutofit/>
          </a:bodyPr>
          <a:lstStyle>
            <a:lvl1pPr marL="0" indent="0" algn="l">
              <a:buNone/>
              <a:defRPr sz="1400" b="0">
                <a:solidFill>
                  <a:schemeClr val="bg1"/>
                </a:solidFill>
              </a:defRPr>
            </a:lvl1pPr>
            <a:lvl2pPr>
              <a:defRPr sz="1100" b="0">
                <a:solidFill>
                  <a:schemeClr val="bg1"/>
                </a:solidFill>
              </a:defRPr>
            </a:lvl2pPr>
            <a:lvl3pPr>
              <a:defRPr sz="1100" b="0">
                <a:solidFill>
                  <a:schemeClr val="bg1"/>
                </a:solidFill>
              </a:defRPr>
            </a:lvl3pPr>
            <a:lvl4pPr>
              <a:defRPr sz="1100" b="0">
                <a:solidFill>
                  <a:schemeClr val="bg1"/>
                </a:solidFill>
              </a:defRPr>
            </a:lvl4pPr>
            <a:lvl5pPr>
              <a:defRPr sz="1100" b="0">
                <a:solidFill>
                  <a:schemeClr val="bg1"/>
                </a:solidFill>
              </a:defRPr>
            </a:lvl5pPr>
          </a:lstStyle>
          <a:p>
            <a:pPr lvl="0"/>
            <a:r>
              <a:rPr lang="en-US"/>
              <a:t>Click to edit Master text styles</a:t>
            </a:r>
          </a:p>
        </p:txBody>
      </p:sp>
      <p:sp>
        <p:nvSpPr>
          <p:cNvPr id="13" name="Text Placeholder 12"/>
          <p:cNvSpPr>
            <a:spLocks noGrp="1"/>
          </p:cNvSpPr>
          <p:nvPr>
            <p:ph type="body" sz="quarter" idx="14"/>
          </p:nvPr>
        </p:nvSpPr>
        <p:spPr>
          <a:xfrm>
            <a:off x="371475" y="996026"/>
            <a:ext cx="853884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1897373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4038600" cy="4343400"/>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buFont typeface="Arial" panose="020B0604020202020204" pitchFamily="34" charset="0"/>
              <a:buChar char="»"/>
              <a:defRPr sz="1400"/>
            </a:lvl3pPr>
            <a:lvl4pPr marL="690563" indent="-233363">
              <a:defRPr sz="1200"/>
            </a:lvl4pPr>
            <a:lvl5pPr marL="974725" indent="-284163">
              <a:defRPr sz="1200"/>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4586288" y="1206500"/>
            <a:ext cx="4041648" cy="4343400"/>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defRPr sz="1400"/>
            </a:lvl3pPr>
            <a:lvl4pPr marL="690563" indent="-233363">
              <a:defRPr sz="1200"/>
            </a:lvl4pPr>
            <a:lvl5pPr marL="969963" indent="-2794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7068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2725102" cy="4343400"/>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buFont typeface="Arial" panose="020B0604020202020204" pitchFamily="34" charset="0"/>
              <a:buChar char="»"/>
              <a:defRPr sz="1400"/>
            </a:lvl3pPr>
            <a:lvl4pPr marL="690563" indent="-233363">
              <a:defRPr sz="1200"/>
            </a:lvl4pPr>
            <a:lvl5pPr marL="974725" indent="-284163">
              <a:defRPr sz="1200"/>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5" name="Content Placeholder 4"/>
          <p:cNvSpPr>
            <a:spLocks noGrp="1"/>
          </p:cNvSpPr>
          <p:nvPr>
            <p:ph sz="quarter" idx="17"/>
          </p:nvPr>
        </p:nvSpPr>
        <p:spPr>
          <a:xfrm>
            <a:off x="3217482" y="1206500"/>
            <a:ext cx="2724912" cy="4338638"/>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defRPr sz="1400"/>
            </a:lvl3pPr>
            <a:lvl4pPr marL="690563" indent="-233363">
              <a:defRPr sz="1200"/>
            </a:lvl4pPr>
            <a:lvl5pPr marL="914400" indent="-223838">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8"/>
          </p:nvPr>
        </p:nvSpPr>
        <p:spPr>
          <a:xfrm>
            <a:off x="6071235" y="1206500"/>
            <a:ext cx="2736850" cy="4357688"/>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defRPr sz="1400"/>
            </a:lvl3pPr>
            <a:lvl4pPr marL="690563" indent="-233363">
              <a:defRPr sz="1200"/>
            </a:lvl4pPr>
            <a:lvl5pPr marL="914400" indent="-223838">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2121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Subhead with Chart">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a:solidFill>
                  <a:srgbClr val="38454F"/>
                </a:solidFill>
              </a:rPr>
              <a:pPr/>
              <a:t>‹#›</a:t>
            </a:fld>
            <a:endParaRPr lang="en-US">
              <a:solidFill>
                <a:srgbClr val="38454F"/>
              </a:solidFill>
            </a:endParaRPr>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7" name="Chart Placeholder 6"/>
          <p:cNvSpPr>
            <a:spLocks noGrp="1"/>
          </p:cNvSpPr>
          <p:nvPr>
            <p:ph type="chart" sz="quarter" idx="15"/>
          </p:nvPr>
        </p:nvSpPr>
        <p:spPr>
          <a:xfrm>
            <a:off x="806497" y="1711708"/>
            <a:ext cx="7559581" cy="4064060"/>
          </a:xfrm>
        </p:spPr>
        <p:txBody>
          <a:bodyPr/>
          <a:lstStyle>
            <a:lvl1pPr marL="0" indent="0">
              <a:buNone/>
              <a:defRPr/>
            </a:lvl1pPr>
          </a:lstStyle>
          <a:p>
            <a:r>
              <a:rPr lang="en-US"/>
              <a:t>Click icon to add chart</a:t>
            </a:r>
          </a:p>
        </p:txBody>
      </p:sp>
    </p:spTree>
    <p:extLst>
      <p:ext uri="{BB962C8B-B14F-4D97-AF65-F5344CB8AC3E}">
        <p14:creationId xmlns:p14="http://schemas.microsoft.com/office/powerpoint/2010/main" val="1783405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and Content with Tab">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smtClean="0"/>
              <a:t>‹#›</a:t>
            </a:fld>
            <a:endParaRPr lang="en-US"/>
          </a:p>
        </p:txBody>
      </p:sp>
      <p:sp>
        <p:nvSpPr>
          <p:cNvPr id="5" name="Flowchart: Data 4"/>
          <p:cNvSpPr/>
          <p:nvPr/>
        </p:nvSpPr>
        <p:spPr bwMode="auto">
          <a:xfrm>
            <a:off x="0" y="0"/>
            <a:ext cx="3558474" cy="461430"/>
          </a:xfrm>
          <a:custGeom>
            <a:avLst/>
            <a:gdLst/>
            <a:ahLst/>
            <a:cxnLst/>
            <a:rect l="l" t="t" r="r" b="b"/>
            <a:pathLst>
              <a:path w="3558474" h="461430">
                <a:moveTo>
                  <a:pt x="0" y="0"/>
                </a:moveTo>
                <a:lnTo>
                  <a:pt x="3558474" y="0"/>
                </a:lnTo>
                <a:lnTo>
                  <a:pt x="3294039" y="461430"/>
                </a:lnTo>
                <a:lnTo>
                  <a:pt x="0" y="461430"/>
                </a:lnTo>
                <a:close/>
              </a:path>
            </a:pathLst>
          </a:custGeom>
          <a:solidFill>
            <a:schemeClr val="accent1"/>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p>
        </p:txBody>
      </p:sp>
      <p:sp>
        <p:nvSpPr>
          <p:cNvPr id="9" name="Text Placeholder 8"/>
          <p:cNvSpPr>
            <a:spLocks noGrp="1"/>
          </p:cNvSpPr>
          <p:nvPr>
            <p:ph type="body" sz="quarter" idx="13"/>
          </p:nvPr>
        </p:nvSpPr>
        <p:spPr>
          <a:xfrm>
            <a:off x="371475" y="0"/>
            <a:ext cx="3008313" cy="461963"/>
          </a:xfrm>
        </p:spPr>
        <p:txBody>
          <a:bodyPr anchor="ctr" anchorCtr="0">
            <a:noAutofit/>
          </a:bodyPr>
          <a:lstStyle>
            <a:lvl1pPr marL="0" indent="0" algn="l">
              <a:buNone/>
              <a:defRPr sz="1400" b="0">
                <a:solidFill>
                  <a:schemeClr val="bg1"/>
                </a:solidFill>
              </a:defRPr>
            </a:lvl1pPr>
            <a:lvl2pPr>
              <a:defRPr sz="1100" b="0">
                <a:solidFill>
                  <a:schemeClr val="bg1"/>
                </a:solidFill>
              </a:defRPr>
            </a:lvl2pPr>
            <a:lvl3pPr>
              <a:defRPr sz="1100" b="0">
                <a:solidFill>
                  <a:schemeClr val="bg1"/>
                </a:solidFill>
              </a:defRPr>
            </a:lvl3pPr>
            <a:lvl4pPr>
              <a:defRPr sz="1100" b="0">
                <a:solidFill>
                  <a:schemeClr val="bg1"/>
                </a:solidFill>
              </a:defRPr>
            </a:lvl4pPr>
            <a:lvl5pPr>
              <a:defRPr sz="1100" b="0">
                <a:solidFill>
                  <a:schemeClr val="bg1"/>
                </a:solidFill>
              </a:defRPr>
            </a:lvl5pPr>
          </a:lstStyle>
          <a:p>
            <a:pPr lvl="0"/>
            <a:r>
              <a:rPr lang="en-US"/>
              <a:t>Click to edit Master text styles</a:t>
            </a:r>
          </a:p>
        </p:txBody>
      </p:sp>
      <p:sp>
        <p:nvSpPr>
          <p:cNvPr id="13" name="Text Placeholder 12"/>
          <p:cNvSpPr>
            <a:spLocks noGrp="1"/>
          </p:cNvSpPr>
          <p:nvPr>
            <p:ph type="body" sz="quarter" idx="14"/>
          </p:nvPr>
        </p:nvSpPr>
        <p:spPr>
          <a:xfrm>
            <a:off x="371475" y="996026"/>
            <a:ext cx="853884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274140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4069080" cy="3805238"/>
          </a:xfrm>
        </p:spPr>
        <p:txBody>
          <a:bodyPr vert="horz" lIns="0" tIns="0" rIns="0" bIns="0" rtlCol="0">
            <a:noAutofit/>
          </a:bodyPr>
          <a:lstStyle>
            <a:lvl1pPr>
              <a:defRPr lang="en-US" sz="1800" b="0" noProof="0" dirty="0" smtClean="0">
                <a:solidFill>
                  <a:schemeClr val="tx1"/>
                </a:solidFill>
              </a:defRPr>
            </a:lvl1pPr>
            <a:lvl2pPr>
              <a:defRPr lang="en-US" sz="1600" noProof="0" dirty="0" smtClean="0"/>
            </a:lvl2pPr>
            <a:lvl3pPr>
              <a:defRPr lang="en-US" sz="1600" noProof="0" dirty="0" smtClean="0"/>
            </a:lvl3pPr>
            <a:lvl4pPr>
              <a:defRPr lang="en-US" sz="1400" noProof="0" dirty="0" smtClean="0"/>
            </a:lvl4pPr>
            <a:lvl5pPr>
              <a:defRPr lang="en-US" sz="14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4700207" y="2330450"/>
            <a:ext cx="4069080" cy="3805238"/>
          </a:xfrm>
        </p:spPr>
        <p:txBody>
          <a:bodyPr vert="horz" lIns="0" tIns="0" rIns="0" bIns="0" rtlCol="0">
            <a:noAutofit/>
          </a:bodyPr>
          <a:lstStyle>
            <a:lvl1pPr>
              <a:defRPr lang="en-US" sz="1800" b="0" dirty="0" smtClean="0">
                <a:solidFill>
                  <a:schemeClr val="tx1"/>
                </a:solidFill>
              </a:defRPr>
            </a:lvl1pPr>
            <a:lvl2pPr>
              <a:defRPr lang="en-US" sz="1600" dirty="0" smtClean="0"/>
            </a:lvl2pPr>
            <a:lvl3pPr>
              <a:defRPr lang="en-US" sz="1600" dirty="0" smtClean="0"/>
            </a:lvl3pPr>
            <a:lvl4pPr>
              <a:defRPr lang="en-US" sz="1400" dirty="0" smtClean="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46051"/>
            <a:ext cx="4069080" cy="556634"/>
          </a:xfrm>
          <a:prstGeom prst="rect">
            <a:avLst/>
          </a:prstGeom>
          <a:solidFill>
            <a:schemeClr val="accent2"/>
          </a:solidFill>
        </p:spPr>
        <p:txBody>
          <a:bodyPr lIns="45720" tIns="45720" rIns="45720" bIns="45720" anchor="ctr"/>
          <a:lstStyle>
            <a:lvl1pPr marL="4763" indent="0" algn="ctr">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4700207" y="1646051"/>
            <a:ext cx="4069080" cy="556634"/>
          </a:xfrm>
          <a:prstGeom prst="rect">
            <a:avLst/>
          </a:prstGeom>
          <a:solidFill>
            <a:schemeClr val="accent2"/>
          </a:solidFill>
        </p:spPr>
        <p:txBody>
          <a:bodyPr lIns="45720" tIns="45720" rIns="45720" bIns="45720" anchor="ctr"/>
          <a:lstStyle>
            <a:lvl1pPr marL="0" indent="0" algn="ctr">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1829805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solidFill>
                  <a:schemeClr val="tx1"/>
                </a:solidFill>
              </a:defRPr>
            </a:lvl2pPr>
            <a:lvl3pPr>
              <a:defRPr lang="en-US" sz="1400" noProof="0" dirty="0" smtClean="0">
                <a:solidFill>
                  <a:schemeClr val="tx1"/>
                </a:solidFill>
              </a:defRPr>
            </a:lvl3pPr>
            <a:lvl4pPr>
              <a:defRPr lang="en-US" sz="1200" noProof="0" dirty="0" smtClean="0">
                <a:solidFill>
                  <a:schemeClr val="tx1"/>
                </a:solidFill>
              </a:defRPr>
            </a:lvl4pPr>
            <a:lvl5pPr>
              <a:defRPr lang="en-US" sz="1200" noProof="0" dirty="0" smtClean="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8" name="Text Placeholder 2"/>
          <p:cNvSpPr>
            <a:spLocks noGrp="1"/>
          </p:cNvSpPr>
          <p:nvPr>
            <p:ph type="body" sz="quarter" idx="24"/>
            <p:custDataLst>
              <p:tags r:id="rId1"/>
            </p:custDataLst>
          </p:nvPr>
        </p:nvSpPr>
        <p:spPr>
          <a:xfrm>
            <a:off x="366713"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11"/>
          <p:cNvSpPr>
            <a:spLocks noGrp="1"/>
          </p:cNvSpPr>
          <p:nvPr>
            <p:ph sz="quarter" idx="25"/>
          </p:nvPr>
        </p:nvSpPr>
        <p:spPr>
          <a:xfrm>
            <a:off x="3254777"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solidFill>
                  <a:schemeClr val="tx1"/>
                </a:solidFill>
              </a:defRPr>
            </a:lvl2pPr>
            <a:lvl3pPr>
              <a:defRPr lang="en-US" sz="1400" noProof="0" dirty="0" smtClean="0">
                <a:solidFill>
                  <a:schemeClr val="tx1"/>
                </a:solidFill>
              </a:defRPr>
            </a:lvl3pPr>
            <a:lvl4pPr>
              <a:defRPr lang="en-US" sz="1200" noProof="0" dirty="0" smtClean="0">
                <a:solidFill>
                  <a:schemeClr val="tx1"/>
                </a:solidFill>
              </a:defRPr>
            </a:lvl4pPr>
            <a:lvl5pPr>
              <a:defRPr lang="en-US" sz="1200" noProof="0" dirty="0" smtClean="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2"/>
          <p:cNvSpPr>
            <a:spLocks noGrp="1"/>
          </p:cNvSpPr>
          <p:nvPr>
            <p:ph type="body" sz="quarter" idx="26"/>
            <p:custDataLst>
              <p:tags r:id="rId2"/>
            </p:custDataLst>
          </p:nvPr>
        </p:nvSpPr>
        <p:spPr>
          <a:xfrm>
            <a:off x="3257952"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
        <p:nvSpPr>
          <p:cNvPr id="14" name="Content Placeholder 11"/>
          <p:cNvSpPr>
            <a:spLocks noGrp="1"/>
          </p:cNvSpPr>
          <p:nvPr>
            <p:ph sz="quarter" idx="27"/>
          </p:nvPr>
        </p:nvSpPr>
        <p:spPr>
          <a:xfrm>
            <a:off x="6146016"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solidFill>
                  <a:schemeClr val="tx1"/>
                </a:solidFill>
              </a:defRPr>
            </a:lvl2pPr>
            <a:lvl3pPr>
              <a:defRPr lang="en-US" sz="1400" noProof="0" dirty="0" smtClean="0">
                <a:solidFill>
                  <a:schemeClr val="tx1"/>
                </a:solidFill>
              </a:defRPr>
            </a:lvl3pPr>
            <a:lvl4pPr>
              <a:defRPr lang="en-US" sz="1200" noProof="0" dirty="0" smtClean="0">
                <a:solidFill>
                  <a:schemeClr val="tx1"/>
                </a:solidFill>
              </a:defRPr>
            </a:lvl4pPr>
            <a:lvl5pPr>
              <a:defRPr lang="en-US" sz="1200" noProof="0" dirty="0" smtClean="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2"/>
          <p:cNvSpPr>
            <a:spLocks noGrp="1"/>
          </p:cNvSpPr>
          <p:nvPr>
            <p:ph type="body" sz="quarter" idx="28"/>
            <p:custDataLst>
              <p:tags r:id="rId3"/>
            </p:custDataLst>
          </p:nvPr>
        </p:nvSpPr>
        <p:spPr>
          <a:xfrm>
            <a:off x="6149191"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942134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8" name="Text Placeholder 2"/>
          <p:cNvSpPr>
            <a:spLocks noGrp="1"/>
          </p:cNvSpPr>
          <p:nvPr>
            <p:ph type="body" sz="quarter" idx="24"/>
            <p:custDataLst>
              <p:tags r:id="rId1"/>
            </p:custDataLst>
          </p:nvPr>
        </p:nvSpPr>
        <p:spPr>
          <a:xfrm>
            <a:off x="363538"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11"/>
          <p:cNvSpPr>
            <a:spLocks noGrp="1"/>
          </p:cNvSpPr>
          <p:nvPr>
            <p:ph sz="quarter" idx="25"/>
          </p:nvPr>
        </p:nvSpPr>
        <p:spPr>
          <a:xfrm>
            <a:off x="2524655"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2"/>
          <p:cNvSpPr>
            <a:spLocks noGrp="1"/>
          </p:cNvSpPr>
          <p:nvPr>
            <p:ph type="body" sz="quarter" idx="26"/>
            <p:custDataLst>
              <p:tags r:id="rId2"/>
            </p:custDataLst>
          </p:nvPr>
        </p:nvSpPr>
        <p:spPr>
          <a:xfrm>
            <a:off x="2525713"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4" name="Content Placeholder 11"/>
          <p:cNvSpPr>
            <a:spLocks noGrp="1"/>
          </p:cNvSpPr>
          <p:nvPr>
            <p:ph sz="quarter" idx="27"/>
          </p:nvPr>
        </p:nvSpPr>
        <p:spPr>
          <a:xfrm>
            <a:off x="4685772"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2"/>
          <p:cNvSpPr>
            <a:spLocks noGrp="1"/>
          </p:cNvSpPr>
          <p:nvPr>
            <p:ph type="body" sz="quarter" idx="28"/>
            <p:custDataLst>
              <p:tags r:id="rId3"/>
            </p:custDataLst>
          </p:nvPr>
        </p:nvSpPr>
        <p:spPr>
          <a:xfrm>
            <a:off x="4687888"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6" name="Content Placeholder 11"/>
          <p:cNvSpPr>
            <a:spLocks noGrp="1"/>
          </p:cNvSpPr>
          <p:nvPr>
            <p:ph sz="quarter" idx="29"/>
          </p:nvPr>
        </p:nvSpPr>
        <p:spPr>
          <a:xfrm>
            <a:off x="6846888"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Text Placeholder 2"/>
          <p:cNvSpPr>
            <a:spLocks noGrp="1"/>
          </p:cNvSpPr>
          <p:nvPr>
            <p:ph type="body" sz="quarter" idx="30"/>
            <p:custDataLst>
              <p:tags r:id="rId4"/>
            </p:custDataLst>
          </p:nvPr>
        </p:nvSpPr>
        <p:spPr>
          <a:xfrm>
            <a:off x="6850063"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143031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orz 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745632"/>
            <a:ext cx="6158232" cy="2011680"/>
          </a:xfrm>
        </p:spPr>
        <p:txBody>
          <a:bodyPr vert="horz" lIns="0" tIns="0" rIns="0" bIns="0" rtlCol="0">
            <a:noAutofit/>
          </a:bodyPr>
          <a:lstStyle>
            <a:lvl1pPr>
              <a:defRPr lang="en-US" b="0" noProof="0" dirty="0" smtClean="0">
                <a:solidFill>
                  <a:schemeClr val="tx1"/>
                </a:solidFill>
              </a:defRPr>
            </a:lvl1pPr>
            <a:lvl2pPr>
              <a:defRPr lang="en-US" noProof="0" dirty="0" smtClean="0"/>
            </a:lvl2pPr>
            <a:lvl3pPr>
              <a:defRPr lang="en-US" noProof="0" dirty="0" smtClean="0"/>
            </a:lvl3pPr>
            <a:lvl4pPr>
              <a:defRPr lang="en-US" noProof="0" dirty="0" smtClean="0"/>
            </a:lvl4pPr>
            <a:lvl5pPr>
              <a:defRPr lang="en-US"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3888152"/>
            <a:ext cx="6158232" cy="2011680"/>
          </a:xfrm>
        </p:spPr>
        <p:txBody>
          <a:bodyPr vert="horz" lIns="0" tIns="0" rIns="0" bIns="0" rtlCol="0">
            <a:noAutofit/>
          </a:bodyPr>
          <a:lstStyle>
            <a:lvl1pPr>
              <a:defRPr lang="en-US" b="0" dirty="0" smtClean="0">
                <a:solidFill>
                  <a:schemeClr val="tx1"/>
                </a:solidFill>
              </a:defRPr>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745632"/>
            <a:ext cx="2102167" cy="2011680"/>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888152"/>
            <a:ext cx="2102167" cy="201168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350526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orz 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46049"/>
            <a:ext cx="6158232" cy="1371600"/>
          </a:xfrm>
        </p:spPr>
        <p:txBody>
          <a:bodyPr vert="horz" lIns="0" tIns="0" rIns="0" bIns="0" rtlCol="0">
            <a:noAutofit/>
          </a:bodyPr>
          <a:lstStyle>
            <a:lvl1pPr>
              <a:defRPr lang="en-US" sz="16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3221600"/>
            <a:ext cx="6158232" cy="137160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46049"/>
            <a:ext cx="2102167" cy="1371600"/>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221601"/>
            <a:ext cx="2102167" cy="137160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4797152"/>
            <a:ext cx="6158232" cy="137160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p:cNvSpPr>
            <a:spLocks noGrp="1"/>
          </p:cNvSpPr>
          <p:nvPr>
            <p:ph type="body" sz="quarter" idx="27"/>
            <p:custDataLst>
              <p:tags r:id="rId3"/>
            </p:custDataLst>
          </p:nvPr>
        </p:nvSpPr>
        <p:spPr>
          <a:xfrm>
            <a:off x="366712" y="4797152"/>
            <a:ext cx="2102167" cy="137160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14323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orz 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528360"/>
            <a:ext cx="6158232" cy="1046351"/>
          </a:xfrm>
        </p:spPr>
        <p:txBody>
          <a:bodyPr vert="horz" lIns="0" tIns="0" rIns="0" bIns="0" rtlCol="0">
            <a:noAutofit/>
          </a:bodyPr>
          <a:lstStyle>
            <a:lvl1pPr>
              <a:defRPr lang="en-US" sz="1600" b="0" noProof="0" dirty="0" smtClean="0">
                <a:solidFill>
                  <a:schemeClr val="tx1"/>
                </a:solidFill>
              </a:defRPr>
            </a:lvl1pPr>
            <a:lvl2pPr>
              <a:defRPr lang="en-US" sz="1400" noProof="0" dirty="0" smtClean="0"/>
            </a:lvl2pPr>
            <a:lvl3pPr>
              <a:defRPr lang="en-US" sz="1400" noProof="0" dirty="0" smtClean="0"/>
            </a:lvl3pPr>
          </a:lstStyle>
          <a:p>
            <a:pPr lvl="0"/>
            <a:r>
              <a:rPr lang="en-US" noProof="0"/>
              <a:t>Click to edit Master text styles</a:t>
            </a:r>
          </a:p>
          <a:p>
            <a:pPr lvl="1"/>
            <a:r>
              <a:rPr lang="en-US" noProof="0"/>
              <a:t>Second level</a:t>
            </a:r>
          </a:p>
          <a:p>
            <a:pPr lvl="2"/>
            <a:r>
              <a:rPr lang="en-US" noProof="0"/>
              <a:t>Third level</a:t>
            </a:r>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2708138"/>
            <a:ext cx="6158232" cy="1042416"/>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8" name="Text Placeholder 2"/>
          <p:cNvSpPr>
            <a:spLocks noGrp="1"/>
          </p:cNvSpPr>
          <p:nvPr>
            <p:ph type="body" sz="quarter" idx="24"/>
            <p:custDataLst>
              <p:tags r:id="rId1"/>
            </p:custDataLst>
          </p:nvPr>
        </p:nvSpPr>
        <p:spPr>
          <a:xfrm>
            <a:off x="366712" y="1528360"/>
            <a:ext cx="2102167" cy="1046351"/>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2708138"/>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3883981"/>
            <a:ext cx="6158232" cy="1042416"/>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sz="quarter" idx="27"/>
            <p:custDataLst>
              <p:tags r:id="rId3"/>
            </p:custDataLst>
          </p:nvPr>
        </p:nvSpPr>
        <p:spPr>
          <a:xfrm>
            <a:off x="366712" y="3883981"/>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4" name="Content Placeholder 6"/>
          <p:cNvSpPr>
            <a:spLocks noGrp="1"/>
          </p:cNvSpPr>
          <p:nvPr>
            <p:ph sz="quarter" idx="28"/>
          </p:nvPr>
        </p:nvSpPr>
        <p:spPr>
          <a:xfrm>
            <a:off x="2622231" y="5059823"/>
            <a:ext cx="6158232" cy="1042416"/>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5" name="Text Placeholder 2"/>
          <p:cNvSpPr>
            <a:spLocks noGrp="1"/>
          </p:cNvSpPr>
          <p:nvPr>
            <p:ph type="body" sz="quarter" idx="29"/>
            <p:custDataLst>
              <p:tags r:id="rId4"/>
            </p:custDataLst>
          </p:nvPr>
        </p:nvSpPr>
        <p:spPr>
          <a:xfrm>
            <a:off x="366712" y="5059823"/>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034274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rrow 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893767"/>
            <a:ext cx="6158232" cy="1737360"/>
          </a:xfrm>
        </p:spPr>
        <p:txBody>
          <a:bodyPr vert="horz" lIns="0" tIns="0" rIns="0" bIns="0" rtlCol="0">
            <a:noAutofit/>
          </a:bodyPr>
          <a:lstStyle>
            <a:lvl1pPr>
              <a:defRPr lang="en-US" sz="1600" noProof="0" dirty="0" smtClean="0">
                <a:solidFill>
                  <a:schemeClr val="tx1"/>
                </a:solidFill>
              </a:defRPr>
            </a:lvl1pPr>
            <a:lvl2pPr>
              <a:defRPr lang="en-US" sz="1400" noProof="0" dirty="0" smtClean="0"/>
            </a:lvl2pPr>
            <a:lvl3pPr>
              <a:defRPr lang="en-US" sz="1400" noProof="0" dirty="0" smtClean="0"/>
            </a:lvl3pPr>
            <a:lvl4pPr>
              <a:defRPr lang="en-US" noProof="0" dirty="0" smtClean="0"/>
            </a:lvl4pPr>
            <a:lvl5pPr>
              <a:defRPr lang="en-US"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4035305"/>
            <a:ext cx="6158232" cy="1737360"/>
          </a:xfrm>
        </p:spPr>
        <p:txBody>
          <a:bodyPr vert="horz" lIns="0" tIns="0" rIns="0" bIns="0" rtlCol="0">
            <a:noAutofit/>
          </a:bodyPr>
          <a:lstStyle>
            <a:lvl1pPr>
              <a:defRPr lang="en-US" sz="1600" dirty="0" smtClean="0">
                <a:solidFill>
                  <a:schemeClr val="tx1"/>
                </a:solidFill>
              </a:defRPr>
            </a:lvl1pPr>
            <a:lvl2pPr>
              <a:defRPr lang="en-US" sz="1400" dirty="0" smtClean="0"/>
            </a:lvl2pPr>
            <a:lvl3pPr>
              <a:defRPr lang="en-US" sz="1400"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893767"/>
            <a:ext cx="2102167" cy="173736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4035305"/>
            <a:ext cx="2102167" cy="173736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3462977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rrow 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53961"/>
            <a:ext cx="6158232" cy="1234440"/>
          </a:xfrm>
        </p:spPr>
        <p:txBody>
          <a:bodyPr vert="horz" lIns="0" tIns="0" rIns="0" bIns="0" rtlCol="0">
            <a:noAutofit/>
          </a:bodyPr>
          <a:lstStyle>
            <a:lvl1pPr>
              <a:defRPr lang="en-US" sz="1600" noProof="0" dirty="0" smtClean="0">
                <a:solidFill>
                  <a:schemeClr val="tx1"/>
                </a:solidFill>
              </a:defRPr>
            </a:lvl1pPr>
            <a:lvl2pPr>
              <a:defRPr lang="en-US" sz="1400" noProof="0" dirty="0" smtClean="0"/>
            </a:lvl2pPr>
            <a:lvl3pPr>
              <a:defRPr lang="en-US" sz="1400" noProof="0" dirty="0" smtClean="0"/>
            </a:lvl3pPr>
            <a:lvl4pPr>
              <a:defRPr lang="en-US" noProof="0" dirty="0" smtClean="0"/>
            </a:lvl4pPr>
            <a:lvl5pPr>
              <a:defRPr lang="en-US"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3202716"/>
            <a:ext cx="6158232" cy="1234440"/>
          </a:xfrm>
        </p:spPr>
        <p:txBody>
          <a:bodyPr vert="horz" lIns="0" tIns="0" rIns="0" bIns="0" rtlCol="0">
            <a:noAutofit/>
          </a:bodyPr>
          <a:lstStyle>
            <a:lvl1pPr>
              <a:defRPr lang="en-US" sz="1600" dirty="0" smtClean="0">
                <a:solidFill>
                  <a:schemeClr val="tx1"/>
                </a:solidFill>
              </a:defRPr>
            </a:lvl1pPr>
            <a:lvl2pPr>
              <a:defRPr lang="en-US" sz="1400" dirty="0" smtClean="0"/>
            </a:lvl2pPr>
            <a:lvl3pPr>
              <a:defRPr lang="en-US" sz="1400"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53961"/>
            <a:ext cx="2102167" cy="123444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202716"/>
            <a:ext cx="2102167" cy="123444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4751471"/>
            <a:ext cx="6158232" cy="1234440"/>
          </a:xfrm>
        </p:spPr>
        <p:txBody>
          <a:bodyPr vert="horz" lIns="0" tIns="0" rIns="0" bIns="0" rtlCol="0">
            <a:noAutofit/>
          </a:bodyPr>
          <a:lstStyle>
            <a:lvl1pPr>
              <a:defRPr lang="en-US" sz="1600" dirty="0" smtClean="0">
                <a:solidFill>
                  <a:schemeClr val="tx1"/>
                </a:solidFill>
              </a:defRPr>
            </a:lvl1pPr>
            <a:lvl2pPr>
              <a:defRPr lang="en-US" sz="1400" dirty="0" smtClean="0"/>
            </a:lvl2pPr>
            <a:lvl3pPr>
              <a:defRPr lang="en-US" sz="1400"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p:cNvSpPr>
            <a:spLocks noGrp="1"/>
          </p:cNvSpPr>
          <p:nvPr>
            <p:ph type="body" sz="quarter" idx="27"/>
            <p:custDataLst>
              <p:tags r:id="rId3"/>
            </p:custDataLst>
          </p:nvPr>
        </p:nvSpPr>
        <p:spPr>
          <a:xfrm>
            <a:off x="366712" y="4751471"/>
            <a:ext cx="2102167" cy="123444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8663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rrow 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08696"/>
            <a:ext cx="6158232" cy="960120"/>
          </a:xfrm>
        </p:spPr>
        <p:txBody>
          <a:bodyPr vert="horz" lIns="0" tIns="0" rIns="0" bIns="0" rtlCol="0">
            <a:noAutofit/>
          </a:bodyPr>
          <a:lstStyle>
            <a:lvl1pPr>
              <a:defRPr lang="en-US" sz="1600" b="0" noProof="0" dirty="0" smtClean="0">
                <a:solidFill>
                  <a:schemeClr val="tx1"/>
                </a:solidFill>
              </a:defRPr>
            </a:lvl1pPr>
            <a:lvl2pPr>
              <a:defRPr lang="en-US" sz="1400" noProof="0" dirty="0" smtClean="0"/>
            </a:lvl2pPr>
            <a:lvl3pPr>
              <a:defRPr lang="en-US" sz="1400" noProof="0" dirty="0" smtClean="0"/>
            </a:lvl3pPr>
          </a:lstStyle>
          <a:p>
            <a:pPr lvl="0"/>
            <a:r>
              <a:rPr lang="en-US" noProof="0"/>
              <a:t>Click to edit Master text styles</a:t>
            </a:r>
          </a:p>
          <a:p>
            <a:pPr lvl="1"/>
            <a:r>
              <a:rPr lang="en-US" noProof="0"/>
              <a:t>Second level</a:t>
            </a:r>
          </a:p>
          <a:p>
            <a:pPr lvl="2"/>
            <a:r>
              <a:rPr lang="en-US" noProof="0"/>
              <a:t>Third level</a:t>
            </a:r>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2761213"/>
            <a:ext cx="6158232" cy="96012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8" name="Text Placeholder 2"/>
          <p:cNvSpPr>
            <a:spLocks noGrp="1"/>
          </p:cNvSpPr>
          <p:nvPr>
            <p:ph type="body" sz="quarter" idx="24"/>
            <p:custDataLst>
              <p:tags r:id="rId1"/>
            </p:custDataLst>
          </p:nvPr>
        </p:nvSpPr>
        <p:spPr>
          <a:xfrm>
            <a:off x="366712" y="1608696"/>
            <a:ext cx="2102167" cy="96012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2761213"/>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3913730"/>
            <a:ext cx="6158232" cy="96012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sz="quarter" idx="27"/>
            <p:custDataLst>
              <p:tags r:id="rId3"/>
            </p:custDataLst>
          </p:nvPr>
        </p:nvSpPr>
        <p:spPr>
          <a:xfrm>
            <a:off x="366712" y="3913730"/>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4" name="Content Placeholder 6"/>
          <p:cNvSpPr>
            <a:spLocks noGrp="1"/>
          </p:cNvSpPr>
          <p:nvPr>
            <p:ph sz="quarter" idx="28"/>
          </p:nvPr>
        </p:nvSpPr>
        <p:spPr>
          <a:xfrm>
            <a:off x="2622231" y="5066246"/>
            <a:ext cx="6158232" cy="96012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5" name="Text Placeholder 2"/>
          <p:cNvSpPr>
            <a:spLocks noGrp="1"/>
          </p:cNvSpPr>
          <p:nvPr>
            <p:ph type="body" sz="quarter" idx="29"/>
            <p:custDataLst>
              <p:tags r:id="rId4"/>
            </p:custDataLst>
          </p:nvPr>
        </p:nvSpPr>
        <p:spPr>
          <a:xfrm>
            <a:off x="366712" y="5066246"/>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19521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12" name="Freeform 6"/>
          <p:cNvSpPr>
            <a:spLocks/>
          </p:cNvSpPr>
          <p:nvPr userDrawn="1"/>
        </p:nvSpPr>
        <p:spPr bwMode="auto">
          <a:xfrm>
            <a:off x="3425840" y="0"/>
            <a:ext cx="5733420" cy="6858000"/>
          </a:xfrm>
          <a:custGeom>
            <a:avLst/>
            <a:gdLst/>
            <a:ahLst/>
            <a:cxnLst/>
            <a:rect l="l" t="t" r="r" b="b"/>
            <a:pathLst>
              <a:path w="5733420" h="6858000">
                <a:moveTo>
                  <a:pt x="0" y="0"/>
                </a:moveTo>
                <a:lnTo>
                  <a:pt x="634" y="0"/>
                </a:lnTo>
                <a:lnTo>
                  <a:pt x="5733420" y="0"/>
                </a:lnTo>
                <a:lnTo>
                  <a:pt x="5729588" y="6858000"/>
                </a:lnTo>
                <a:lnTo>
                  <a:pt x="3963034" y="685800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12491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19" name="Isosceles Triangle 18"/>
          <p:cNvSpPr/>
          <p:nvPr userDrawn="1"/>
        </p:nvSpPr>
        <p:spPr bwMode="auto">
          <a:xfrm>
            <a:off x="7496175" y="3993931"/>
            <a:ext cx="1661161" cy="2864069"/>
          </a:xfrm>
          <a:custGeom>
            <a:avLst/>
            <a:gdLst/>
            <a:ahLst/>
            <a:cxnLst/>
            <a:rect l="l" t="t" r="r" b="b"/>
            <a:pathLst>
              <a:path w="1661161" h="2864069">
                <a:moveTo>
                  <a:pt x="1661161" y="0"/>
                </a:moveTo>
                <a:lnTo>
                  <a:pt x="1661161" y="2864069"/>
                </a:lnTo>
                <a:lnTo>
                  <a:pt x="0" y="2864069"/>
                </a:lnTo>
                <a:close/>
              </a:path>
            </a:pathLst>
          </a:custGeom>
          <a:solidFill>
            <a:schemeClr val="accent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1" name="Freeform 6"/>
          <p:cNvSpPr>
            <a:spLocks/>
          </p:cNvSpPr>
          <p:nvPr userDrawn="1"/>
        </p:nvSpPr>
        <p:spPr bwMode="auto">
          <a:xfrm>
            <a:off x="4879047" y="0"/>
            <a:ext cx="4280213" cy="5697264"/>
          </a:xfrm>
          <a:custGeom>
            <a:avLst/>
            <a:gdLst/>
            <a:ahLst/>
            <a:cxnLst/>
            <a:rect l="l" t="t" r="r" b="b"/>
            <a:pathLst>
              <a:path w="4280213" h="5697264">
                <a:moveTo>
                  <a:pt x="0" y="0"/>
                </a:moveTo>
                <a:lnTo>
                  <a:pt x="634" y="0"/>
                </a:lnTo>
                <a:lnTo>
                  <a:pt x="4280213" y="0"/>
                </a:lnTo>
                <a:lnTo>
                  <a:pt x="4280213" y="3993931"/>
                </a:lnTo>
                <a:lnTo>
                  <a:pt x="3292279" y="569726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4" name="Isosceles Triangle 13"/>
          <p:cNvSpPr/>
          <p:nvPr userDrawn="1"/>
        </p:nvSpPr>
        <p:spPr bwMode="auto">
          <a:xfrm>
            <a:off x="7496175" y="5696782"/>
            <a:ext cx="1347013" cy="1161218"/>
          </a:xfrm>
          <a:prstGeom prst="triangle">
            <a:avLst/>
          </a:pr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pSp>
        <p:nvGrpSpPr>
          <p:cNvPr id="28" name="Group 27"/>
          <p:cNvGrpSpPr>
            <a:grpSpLocks noChangeAspect="1"/>
          </p:cNvGrpSpPr>
          <p:nvPr userDrawn="1"/>
        </p:nvGrpSpPr>
        <p:grpSpPr>
          <a:xfrm>
            <a:off x="374651" y="6431112"/>
            <a:ext cx="1673352" cy="328463"/>
            <a:chOff x="374651" y="6029325"/>
            <a:chExt cx="2054224" cy="403225"/>
          </a:xfrm>
        </p:grpSpPr>
        <p:sp>
          <p:nvSpPr>
            <p:cNvPr id="29"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0"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1" name="Freeform 30"/>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2" name="Freeform 31"/>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3" name="Freeform 32"/>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4" name="Freeform 33"/>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5" name="Freeform 34"/>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6" name="Freeform 35"/>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7"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8"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9"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0"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1"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2"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3"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4"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5"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170130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and 2 Columns">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4038600" cy="4343400"/>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buFont typeface="Arial" panose="020B0604020202020204" pitchFamily="34" charset="0"/>
              <a:buChar char="»"/>
              <a:defRPr sz="1400"/>
            </a:lvl3pPr>
            <a:lvl4pPr marL="690563" indent="-233363">
              <a:defRPr sz="1200"/>
            </a:lvl4pPr>
            <a:lvl5pPr marL="974725" indent="-284163">
              <a:defRPr sz="1200"/>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noProof="0"/>
              <a:pPr>
                <a:defRPr/>
              </a:pPr>
              <a:t>‹#›</a:t>
            </a:fld>
            <a:endParaRPr lang="en-US" noProof="0" dirty="0"/>
          </a:p>
        </p:txBody>
      </p:sp>
      <p:sp>
        <p:nvSpPr>
          <p:cNvPr id="7" name="Content Placeholder 6"/>
          <p:cNvSpPr>
            <a:spLocks noGrp="1"/>
          </p:cNvSpPr>
          <p:nvPr>
            <p:ph sz="quarter" idx="16"/>
          </p:nvPr>
        </p:nvSpPr>
        <p:spPr>
          <a:xfrm>
            <a:off x="4586288" y="1206500"/>
            <a:ext cx="4041648" cy="4343400"/>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defRPr sz="1400"/>
            </a:lvl3pPr>
            <a:lvl4pPr marL="690563" indent="-233363">
              <a:defRPr sz="1200"/>
            </a:lvl4pPr>
            <a:lvl5pPr marL="969963" indent="-2794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4688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ection Header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757513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21" name="Freeform 6"/>
          <p:cNvSpPr>
            <a:spLocks/>
          </p:cNvSpPr>
          <p:nvPr userDrawn="1"/>
        </p:nvSpPr>
        <p:spPr bwMode="auto">
          <a:xfrm>
            <a:off x="5506102" y="0"/>
            <a:ext cx="3648058" cy="5697264"/>
          </a:xfrm>
          <a:custGeom>
            <a:avLst/>
            <a:gdLst/>
            <a:ahLst/>
            <a:cxnLst/>
            <a:rect l="l" t="t" r="r" b="b"/>
            <a:pathLst>
              <a:path w="3648058" h="5697264">
                <a:moveTo>
                  <a:pt x="0" y="0"/>
                </a:moveTo>
                <a:lnTo>
                  <a:pt x="634" y="0"/>
                </a:lnTo>
                <a:lnTo>
                  <a:pt x="3648058" y="0"/>
                </a:lnTo>
                <a:lnTo>
                  <a:pt x="3648058" y="5083853"/>
                </a:lnTo>
                <a:lnTo>
                  <a:pt x="3292279" y="569726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9" name="Isosceles Triangle 18"/>
          <p:cNvSpPr/>
          <p:nvPr userDrawn="1"/>
        </p:nvSpPr>
        <p:spPr bwMode="auto">
          <a:xfrm>
            <a:off x="7315116" y="3687235"/>
            <a:ext cx="1839045" cy="3170765"/>
          </a:xfrm>
          <a:custGeom>
            <a:avLst/>
            <a:gdLst/>
            <a:ahLst/>
            <a:cxnLst/>
            <a:rect l="l" t="t" r="r" b="b"/>
            <a:pathLst>
              <a:path w="1839045" h="3170765">
                <a:moveTo>
                  <a:pt x="1839045" y="0"/>
                </a:moveTo>
                <a:lnTo>
                  <a:pt x="1839045" y="3170765"/>
                </a:lnTo>
                <a:lnTo>
                  <a:pt x="0" y="3170765"/>
                </a:lnTo>
                <a:close/>
              </a:path>
            </a:pathLst>
          </a:cu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14" name="Isosceles Triangle 13"/>
          <p:cNvSpPr/>
          <p:nvPr userDrawn="1"/>
        </p:nvSpPr>
        <p:spPr bwMode="auto">
          <a:xfrm>
            <a:off x="7315115" y="4997292"/>
            <a:ext cx="1839045" cy="1860708"/>
          </a:xfrm>
          <a:custGeom>
            <a:avLst/>
            <a:gdLst/>
            <a:ahLst/>
            <a:cxnLst/>
            <a:rect l="l" t="t" r="r" b="b"/>
            <a:pathLst>
              <a:path w="1839045" h="1860708">
                <a:moveTo>
                  <a:pt x="1079211" y="0"/>
                </a:moveTo>
                <a:lnTo>
                  <a:pt x="1839045" y="1310060"/>
                </a:lnTo>
                <a:lnTo>
                  <a:pt x="1839045" y="1860708"/>
                </a:lnTo>
                <a:lnTo>
                  <a:pt x="0" y="1860708"/>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pSp>
        <p:nvGrpSpPr>
          <p:cNvPr id="32" name="Group 31"/>
          <p:cNvGrpSpPr>
            <a:grpSpLocks noChangeAspect="1"/>
          </p:cNvGrpSpPr>
          <p:nvPr userDrawn="1"/>
        </p:nvGrpSpPr>
        <p:grpSpPr>
          <a:xfrm>
            <a:off x="374651" y="6431112"/>
            <a:ext cx="1673352" cy="328463"/>
            <a:chOff x="374651" y="6029325"/>
            <a:chExt cx="2054224" cy="403225"/>
          </a:xfrm>
        </p:grpSpPr>
        <p:sp>
          <p:nvSpPr>
            <p:cNvPr id="33"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4"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5" name="Freeform 34"/>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6" name="Freeform 35"/>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7" name="Freeform 36"/>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8" name="Freeform 37"/>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9" name="Freeform 38"/>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0" name="Freeform 39"/>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1"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2"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3"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4"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5"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6"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7"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8"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9"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3473588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ection Header 3">
    <p:spTree>
      <p:nvGrpSpPr>
        <p:cNvPr id="1" name=""/>
        <p:cNvGrpSpPr/>
        <p:nvPr/>
      </p:nvGrpSpPr>
      <p:grpSpPr>
        <a:xfrm>
          <a:off x="0" y="0"/>
          <a:ext cx="0" cy="0"/>
          <a:chOff x="0" y="0"/>
          <a:chExt cx="0" cy="0"/>
        </a:xfrm>
      </p:grpSpPr>
      <p:sp>
        <p:nvSpPr>
          <p:cNvPr id="2" name="Title 1"/>
          <p:cNvSpPr>
            <a:spLocks noGrp="1"/>
          </p:cNvSpPr>
          <p:nvPr>
            <p:ph type="ctrTitle"/>
          </p:nvPr>
        </p:nvSpPr>
        <p:spPr>
          <a:xfrm>
            <a:off x="367506" y="2220544"/>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3223749"/>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4" name="Rectangle 3"/>
          <p:cNvSpPr/>
          <p:nvPr userDrawn="1"/>
        </p:nvSpPr>
        <p:spPr bwMode="auto">
          <a:xfrm>
            <a:off x="0" y="3942080"/>
            <a:ext cx="8034337" cy="2915920"/>
          </a:xfrm>
          <a:custGeom>
            <a:avLst/>
            <a:gdLst>
              <a:gd name="connsiteX0" fmla="*/ 0 w 9142413"/>
              <a:gd name="connsiteY0" fmla="*/ 0 h 2915920"/>
              <a:gd name="connsiteX1" fmla="*/ 9142413 w 9142413"/>
              <a:gd name="connsiteY1" fmla="*/ 0 h 2915920"/>
              <a:gd name="connsiteX2" fmla="*/ 9142413 w 9142413"/>
              <a:gd name="connsiteY2" fmla="*/ 2915920 h 2915920"/>
              <a:gd name="connsiteX3" fmla="*/ 0 w 9142413"/>
              <a:gd name="connsiteY3" fmla="*/ 2915920 h 2915920"/>
              <a:gd name="connsiteX4" fmla="*/ 0 w 9142413"/>
              <a:gd name="connsiteY4" fmla="*/ 0 h 2915920"/>
              <a:gd name="connsiteX0" fmla="*/ 0 w 9142413"/>
              <a:gd name="connsiteY0" fmla="*/ 0 h 2915920"/>
              <a:gd name="connsiteX1" fmla="*/ 9142413 w 9142413"/>
              <a:gd name="connsiteY1" fmla="*/ 2915920 h 2915920"/>
              <a:gd name="connsiteX2" fmla="*/ 0 w 9142413"/>
              <a:gd name="connsiteY2" fmla="*/ 2915920 h 2915920"/>
              <a:gd name="connsiteX3" fmla="*/ 0 w 9142413"/>
              <a:gd name="connsiteY3" fmla="*/ 0 h 2915920"/>
            </a:gdLst>
            <a:ahLst/>
            <a:cxnLst>
              <a:cxn ang="0">
                <a:pos x="connsiteX0" y="connsiteY0"/>
              </a:cxn>
              <a:cxn ang="0">
                <a:pos x="connsiteX1" y="connsiteY1"/>
              </a:cxn>
              <a:cxn ang="0">
                <a:pos x="connsiteX2" y="connsiteY2"/>
              </a:cxn>
              <a:cxn ang="0">
                <a:pos x="connsiteX3" y="connsiteY3"/>
              </a:cxn>
            </a:cxnLst>
            <a:rect l="l" t="t" r="r" b="b"/>
            <a:pathLst>
              <a:path w="9142413" h="2915920">
                <a:moveTo>
                  <a:pt x="0" y="0"/>
                </a:moveTo>
                <a:lnTo>
                  <a:pt x="9142413" y="2915920"/>
                </a:lnTo>
                <a:lnTo>
                  <a:pt x="0" y="2915920"/>
                </a:lnTo>
                <a:lnTo>
                  <a:pt x="0" y="0"/>
                </a:lnTo>
                <a:close/>
              </a:path>
            </a:pathLst>
          </a:cu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69084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tangle 3"/>
          <p:cNvSpPr/>
          <p:nvPr userDrawn="1"/>
        </p:nvSpPr>
        <p:spPr bwMode="auto">
          <a:xfrm flipH="1">
            <a:off x="6443185" y="4140200"/>
            <a:ext cx="2706767" cy="2717800"/>
          </a:xfrm>
          <a:custGeom>
            <a:avLst/>
            <a:gdLst/>
            <a:ahLst/>
            <a:cxnLst/>
            <a:rect l="l" t="t" r="r" b="b"/>
            <a:pathLst>
              <a:path w="2706767" h="2717800">
                <a:moveTo>
                  <a:pt x="0" y="0"/>
                </a:moveTo>
                <a:lnTo>
                  <a:pt x="0" y="2717800"/>
                </a:lnTo>
                <a:lnTo>
                  <a:pt x="2706767" y="2717800"/>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pic>
        <p:nvPicPr>
          <p:cNvPr id="17" name="Picture 1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
        <p:nvSpPr>
          <p:cNvPr id="18" name="Rectangle 3"/>
          <p:cNvSpPr/>
          <p:nvPr userDrawn="1"/>
        </p:nvSpPr>
        <p:spPr bwMode="auto">
          <a:xfrm>
            <a:off x="6443185" y="6433837"/>
            <a:ext cx="1591152" cy="424163"/>
          </a:xfrm>
          <a:custGeom>
            <a:avLst/>
            <a:gdLst/>
            <a:ahLst/>
            <a:cxnLst/>
            <a:rect l="l" t="t" r="r" b="b"/>
            <a:pathLst>
              <a:path w="1591152" h="424163">
                <a:moveTo>
                  <a:pt x="422441" y="0"/>
                </a:moveTo>
                <a:lnTo>
                  <a:pt x="1591152" y="424163"/>
                </a:lnTo>
                <a:lnTo>
                  <a:pt x="0" y="424163"/>
                </a:lnTo>
                <a:close/>
              </a:path>
            </a:pathLst>
          </a:custGeom>
          <a:solidFill>
            <a:schemeClr val="bg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3" name="Rectangle 3"/>
          <p:cNvSpPr/>
          <p:nvPr userDrawn="1"/>
        </p:nvSpPr>
        <p:spPr bwMode="auto">
          <a:xfrm flipH="1">
            <a:off x="7443993" y="5145088"/>
            <a:ext cx="1705959" cy="1712912"/>
          </a:xfrm>
          <a:custGeom>
            <a:avLst/>
            <a:gdLst/>
            <a:ahLst/>
            <a:cxnLst/>
            <a:rect l="l" t="t" r="r" b="b"/>
            <a:pathLst>
              <a:path w="1705959" h="1712912">
                <a:moveTo>
                  <a:pt x="0" y="0"/>
                </a:moveTo>
                <a:lnTo>
                  <a:pt x="0" y="1712912"/>
                </a:lnTo>
                <a:lnTo>
                  <a:pt x="1705959" y="1712912"/>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5" name="Rectangle 3"/>
          <p:cNvSpPr/>
          <p:nvPr userDrawn="1"/>
        </p:nvSpPr>
        <p:spPr bwMode="auto">
          <a:xfrm>
            <a:off x="7443993" y="6700629"/>
            <a:ext cx="590344" cy="157371"/>
          </a:xfrm>
          <a:custGeom>
            <a:avLst/>
            <a:gdLst/>
            <a:ahLst/>
            <a:cxnLst/>
            <a:rect l="l" t="t" r="r" b="b"/>
            <a:pathLst>
              <a:path w="590344" h="157371">
                <a:moveTo>
                  <a:pt x="156733" y="0"/>
                </a:moveTo>
                <a:lnTo>
                  <a:pt x="590344" y="157371"/>
                </a:lnTo>
                <a:lnTo>
                  <a:pt x="0" y="157371"/>
                </a:lnTo>
                <a:close/>
              </a:path>
            </a:pathLst>
          </a:custGeom>
          <a:solidFill>
            <a:schemeClr val="accent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Tree>
    <p:extLst>
      <p:ext uri="{BB962C8B-B14F-4D97-AF65-F5344CB8AC3E}">
        <p14:creationId xmlns:p14="http://schemas.microsoft.com/office/powerpoint/2010/main" val="138831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Section Header 4">
    <p:bg>
      <p:bgPr>
        <a:solidFill>
          <a:schemeClr val="accent2"/>
        </a:solidFill>
        <a:effectLst/>
      </p:bgPr>
    </p:bg>
    <p:spTree>
      <p:nvGrpSpPr>
        <p:cNvPr id="1" name=""/>
        <p:cNvGrpSpPr/>
        <p:nvPr/>
      </p:nvGrpSpPr>
      <p:grpSpPr>
        <a:xfrm>
          <a:off x="0" y="0"/>
          <a:ext cx="0" cy="0"/>
          <a:chOff x="0" y="0"/>
          <a:chExt cx="0" cy="0"/>
        </a:xfrm>
      </p:grpSpPr>
      <p:sp>
        <p:nvSpPr>
          <p:cNvPr id="12" name="Freeform 6"/>
          <p:cNvSpPr>
            <a:spLocks/>
          </p:cNvSpPr>
          <p:nvPr userDrawn="1"/>
        </p:nvSpPr>
        <p:spPr bwMode="auto">
          <a:xfrm>
            <a:off x="3425840" y="0"/>
            <a:ext cx="5733420" cy="6858000"/>
          </a:xfrm>
          <a:custGeom>
            <a:avLst/>
            <a:gdLst/>
            <a:ahLst/>
            <a:cxnLst/>
            <a:rect l="l" t="t" r="r" b="b"/>
            <a:pathLst>
              <a:path w="5733420" h="6858000">
                <a:moveTo>
                  <a:pt x="0" y="0"/>
                </a:moveTo>
                <a:lnTo>
                  <a:pt x="634" y="0"/>
                </a:lnTo>
                <a:lnTo>
                  <a:pt x="5733420" y="0"/>
                </a:lnTo>
                <a:lnTo>
                  <a:pt x="5729588" y="6858000"/>
                </a:lnTo>
                <a:lnTo>
                  <a:pt x="3963034" y="685800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294316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bg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19" name="Isosceles Triangle 18"/>
          <p:cNvSpPr/>
          <p:nvPr userDrawn="1"/>
        </p:nvSpPr>
        <p:spPr bwMode="auto">
          <a:xfrm>
            <a:off x="7496175" y="3993931"/>
            <a:ext cx="1661161" cy="2864069"/>
          </a:xfrm>
          <a:custGeom>
            <a:avLst/>
            <a:gdLst/>
            <a:ahLst/>
            <a:cxnLst/>
            <a:rect l="l" t="t" r="r" b="b"/>
            <a:pathLst>
              <a:path w="1661161" h="2864069">
                <a:moveTo>
                  <a:pt x="1661161" y="0"/>
                </a:moveTo>
                <a:lnTo>
                  <a:pt x="1661161" y="2864069"/>
                </a:lnTo>
                <a:lnTo>
                  <a:pt x="0" y="2864069"/>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1" name="Freeform 6"/>
          <p:cNvSpPr>
            <a:spLocks/>
          </p:cNvSpPr>
          <p:nvPr userDrawn="1"/>
        </p:nvSpPr>
        <p:spPr bwMode="auto">
          <a:xfrm>
            <a:off x="4879047" y="0"/>
            <a:ext cx="4280213" cy="5697264"/>
          </a:xfrm>
          <a:custGeom>
            <a:avLst/>
            <a:gdLst/>
            <a:ahLst/>
            <a:cxnLst/>
            <a:rect l="l" t="t" r="r" b="b"/>
            <a:pathLst>
              <a:path w="4280213" h="5697264">
                <a:moveTo>
                  <a:pt x="0" y="0"/>
                </a:moveTo>
                <a:lnTo>
                  <a:pt x="634" y="0"/>
                </a:lnTo>
                <a:lnTo>
                  <a:pt x="4280213" y="0"/>
                </a:lnTo>
                <a:lnTo>
                  <a:pt x="4280213" y="3993931"/>
                </a:lnTo>
                <a:lnTo>
                  <a:pt x="3292279" y="569726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4" name="Isosceles Triangle 13"/>
          <p:cNvSpPr/>
          <p:nvPr userDrawn="1"/>
        </p:nvSpPr>
        <p:spPr bwMode="auto">
          <a:xfrm>
            <a:off x="7496175" y="5696782"/>
            <a:ext cx="1347013" cy="1161218"/>
          </a:xfrm>
          <a:prstGeom prst="triangle">
            <a:avLst/>
          </a:prstGeom>
          <a:solidFill>
            <a:schemeClr val="bg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1178113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lor Background 2">
    <p:spTree>
      <p:nvGrpSpPr>
        <p:cNvPr id="1" name=""/>
        <p:cNvGrpSpPr/>
        <p:nvPr/>
      </p:nvGrpSpPr>
      <p:grpSpPr>
        <a:xfrm>
          <a:off x="0" y="0"/>
          <a:ext cx="0" cy="0"/>
          <a:chOff x="0" y="0"/>
          <a:chExt cx="0" cy="0"/>
        </a:xfrm>
      </p:grpSpPr>
      <p:sp>
        <p:nvSpPr>
          <p:cNvPr id="14" name="Rectangle 13"/>
          <p:cNvSpPr/>
          <p:nvPr userDrawn="1"/>
        </p:nvSpPr>
        <p:spPr bwMode="auto">
          <a:xfrm>
            <a:off x="0" y="0"/>
            <a:ext cx="9144000" cy="6216650"/>
          </a:xfrm>
          <a:prstGeom prst="rect">
            <a:avLst/>
          </a:prstGeom>
          <a:solidFill>
            <a:schemeClr val="accent1"/>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5" name="Rectangle 16"/>
          <p:cNvSpPr/>
          <p:nvPr userDrawn="1"/>
        </p:nvSpPr>
        <p:spPr bwMode="auto">
          <a:xfrm>
            <a:off x="0" y="0"/>
            <a:ext cx="6496088" cy="6216650"/>
          </a:xfrm>
          <a:custGeom>
            <a:avLst/>
            <a:gdLst/>
            <a:ahLst/>
            <a:cxnLst/>
            <a:rect l="l" t="t" r="r" b="b"/>
            <a:pathLst>
              <a:path w="6496088" h="6216650">
                <a:moveTo>
                  <a:pt x="0" y="0"/>
                </a:moveTo>
                <a:lnTo>
                  <a:pt x="6496088" y="0"/>
                </a:lnTo>
                <a:cubicBezTo>
                  <a:pt x="6224151" y="475381"/>
                  <a:pt x="2923062" y="6156962"/>
                  <a:pt x="2900554" y="6216650"/>
                </a:cubicBezTo>
                <a:lnTo>
                  <a:pt x="0" y="6216650"/>
                </a:lnTo>
                <a:close/>
              </a:path>
            </a:pathLst>
          </a:custGeom>
          <a:solidFill>
            <a:schemeClr val="tx2"/>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6" name="Rectangle 12"/>
          <p:cNvSpPr/>
          <p:nvPr userDrawn="1"/>
        </p:nvSpPr>
        <p:spPr bwMode="auto">
          <a:xfrm>
            <a:off x="1" y="0"/>
            <a:ext cx="1179707" cy="2041416"/>
          </a:xfrm>
          <a:custGeom>
            <a:avLst/>
            <a:gdLst/>
            <a:ahLst/>
            <a:cxnLst/>
            <a:rect l="l" t="t" r="r" b="b"/>
            <a:pathLst>
              <a:path w="1179707" h="2041416">
                <a:moveTo>
                  <a:pt x="0" y="0"/>
                </a:moveTo>
                <a:lnTo>
                  <a:pt x="1179707" y="0"/>
                </a:lnTo>
                <a:cubicBezTo>
                  <a:pt x="667559" y="883988"/>
                  <a:pt x="213348" y="1669135"/>
                  <a:pt x="0" y="2041416"/>
                </a:cubicBezTo>
                <a:close/>
              </a:path>
            </a:pathLst>
          </a:custGeom>
          <a:solidFill>
            <a:schemeClr val="bg2"/>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7" name="Rectangle 9"/>
          <p:cNvSpPr/>
          <p:nvPr userDrawn="1"/>
        </p:nvSpPr>
        <p:spPr bwMode="auto">
          <a:xfrm>
            <a:off x="7596336" y="3534372"/>
            <a:ext cx="1547664" cy="2682279"/>
          </a:xfrm>
          <a:custGeom>
            <a:avLst/>
            <a:gdLst/>
            <a:ahLst/>
            <a:cxnLst/>
            <a:rect l="l" t="t" r="r" b="b"/>
            <a:pathLst>
              <a:path w="1547664" h="2682279">
                <a:moveTo>
                  <a:pt x="1547664" y="0"/>
                </a:moveTo>
                <a:lnTo>
                  <a:pt x="1547664" y="2682279"/>
                </a:lnTo>
                <a:lnTo>
                  <a:pt x="0" y="2682279"/>
                </a:lnTo>
                <a:cubicBezTo>
                  <a:pt x="10572" y="2654246"/>
                  <a:pt x="744233" y="1386307"/>
                  <a:pt x="1547664" y="0"/>
                </a:cubicBezTo>
                <a:close/>
              </a:path>
            </a:pathLst>
          </a:custGeom>
          <a:solidFill>
            <a:schemeClr val="accent3"/>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8" name="Rectangle 17"/>
          <p:cNvSpPr/>
          <p:nvPr userDrawn="1"/>
        </p:nvSpPr>
        <p:spPr bwMode="auto">
          <a:xfrm>
            <a:off x="8596064" y="5261240"/>
            <a:ext cx="547936" cy="955410"/>
          </a:xfrm>
          <a:custGeom>
            <a:avLst/>
            <a:gdLst/>
            <a:ahLst/>
            <a:cxnLst/>
            <a:rect l="l" t="t" r="r" b="b"/>
            <a:pathLst>
              <a:path w="547936" h="955410">
                <a:moveTo>
                  <a:pt x="547936" y="0"/>
                </a:moveTo>
                <a:lnTo>
                  <a:pt x="547936" y="955410"/>
                </a:lnTo>
                <a:lnTo>
                  <a:pt x="0" y="955410"/>
                </a:lnTo>
                <a:cubicBezTo>
                  <a:pt x="5725" y="940240"/>
                  <a:pt x="222775" y="562702"/>
                  <a:pt x="547936" y="0"/>
                </a:cubicBezTo>
                <a:close/>
              </a:path>
            </a:pathLst>
          </a:custGeom>
          <a:solidFill>
            <a:schemeClr val="accent4"/>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2" name="Title 1"/>
          <p:cNvSpPr>
            <a:spLocks noGrp="1"/>
          </p:cNvSpPr>
          <p:nvPr>
            <p:ph type="title"/>
          </p:nvPr>
        </p:nvSpPr>
        <p:spPr>
          <a:xfrm>
            <a:off x="302578" y="2431217"/>
            <a:ext cx="8526244" cy="677108"/>
          </a:xfrm>
        </p:spPr>
        <p:txBody>
          <a:bodyPr lIns="91440" tIns="91440" rIns="91440" bIns="91440" anchor="ctr" anchorCtr="0"/>
          <a:lstStyle>
            <a:lvl1pPr algn="ctr">
              <a:defRPr sz="4000" baseline="0">
                <a:solidFill>
                  <a:schemeClr val="bg1"/>
                </a:solidFill>
              </a:defRPr>
            </a:lvl1pPr>
          </a:lstStyle>
          <a:p>
            <a:r>
              <a:rPr lang="en-US" noProof="0"/>
              <a:t>Click to edit Master title style</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34006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lor Background with Title and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solidFill>
                  <a:schemeClr val="bg1"/>
                </a:solidFill>
              </a:defRPr>
            </a:lvl1pPr>
          </a:lstStyle>
          <a:p>
            <a:r>
              <a:rPr lang="en-US" noProof="0"/>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solidFill>
                  <a:schemeClr val="bg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7" name="Freeform 783"/>
          <p:cNvSpPr>
            <a:spLocks/>
          </p:cNvSpPr>
          <p:nvPr userDrawn="1"/>
        </p:nvSpPr>
        <p:spPr bwMode="auto">
          <a:xfrm>
            <a:off x="8256901" y="5314384"/>
            <a:ext cx="897577" cy="1552352"/>
          </a:xfrm>
          <a:custGeom>
            <a:avLst/>
            <a:gdLst/>
            <a:ahLst/>
            <a:cxnLst/>
            <a:rect l="l" t="t" r="r" b="b"/>
            <a:pathLst>
              <a:path w="897577" h="1552352">
                <a:moveTo>
                  <a:pt x="897577" y="0"/>
                </a:moveTo>
                <a:lnTo>
                  <a:pt x="897577" y="917479"/>
                </a:lnTo>
                <a:lnTo>
                  <a:pt x="897577" y="917480"/>
                </a:lnTo>
                <a:lnTo>
                  <a:pt x="897577" y="1552352"/>
                </a:lnTo>
                <a:lnTo>
                  <a:pt x="736372" y="1552352"/>
                </a:lnTo>
                <a:lnTo>
                  <a:pt x="736371" y="1552352"/>
                </a:lnTo>
                <a:lnTo>
                  <a:pt x="0" y="1552352"/>
                </a:lnTo>
                <a:lnTo>
                  <a:pt x="368185" y="917480"/>
                </a:lnTo>
                <a:lnTo>
                  <a:pt x="368185" y="917480"/>
                </a:lnTo>
                <a:lnTo>
                  <a:pt x="368185" y="917480"/>
                </a:lnTo>
                <a:lnTo>
                  <a:pt x="368185" y="917479"/>
                </a:lnTo>
                <a:lnTo>
                  <a:pt x="368186" y="917479"/>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4D4D4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4013376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lor Background with 3 Columns">
    <p:bg>
      <p:bgPr>
        <a:solidFill>
          <a:schemeClr val="tx2"/>
        </a:solidFill>
        <a:effectLst/>
      </p:bgPr>
    </p:bg>
    <p:spTree>
      <p:nvGrpSpPr>
        <p:cNvPr id="1" name=""/>
        <p:cNvGrpSpPr/>
        <p:nvPr/>
      </p:nvGrpSpPr>
      <p:grpSpPr>
        <a:xfrm>
          <a:off x="0" y="0"/>
          <a:ext cx="0" cy="0"/>
          <a:chOff x="0" y="0"/>
          <a:chExt cx="0" cy="0"/>
        </a:xfrm>
      </p:grpSpPr>
      <p:sp>
        <p:nvSpPr>
          <p:cNvPr id="8" name="Freeform 783"/>
          <p:cNvSpPr>
            <a:spLocks/>
          </p:cNvSpPr>
          <p:nvPr userDrawn="1"/>
        </p:nvSpPr>
        <p:spPr bwMode="auto">
          <a:xfrm>
            <a:off x="8256901" y="5314384"/>
            <a:ext cx="897577" cy="1552352"/>
          </a:xfrm>
          <a:custGeom>
            <a:avLst/>
            <a:gdLst/>
            <a:ahLst/>
            <a:cxnLst/>
            <a:rect l="l" t="t" r="r" b="b"/>
            <a:pathLst>
              <a:path w="897577" h="1552352">
                <a:moveTo>
                  <a:pt x="897577" y="0"/>
                </a:moveTo>
                <a:lnTo>
                  <a:pt x="897577" y="917479"/>
                </a:lnTo>
                <a:lnTo>
                  <a:pt x="897577" y="917480"/>
                </a:lnTo>
                <a:lnTo>
                  <a:pt x="897577" y="1552352"/>
                </a:lnTo>
                <a:lnTo>
                  <a:pt x="736372" y="1552352"/>
                </a:lnTo>
                <a:lnTo>
                  <a:pt x="736371" y="1552352"/>
                </a:lnTo>
                <a:lnTo>
                  <a:pt x="0" y="1552352"/>
                </a:lnTo>
                <a:lnTo>
                  <a:pt x="368185" y="917480"/>
                </a:lnTo>
                <a:lnTo>
                  <a:pt x="368185" y="917480"/>
                </a:lnTo>
                <a:lnTo>
                  <a:pt x="368185" y="917480"/>
                </a:lnTo>
                <a:lnTo>
                  <a:pt x="368185" y="917479"/>
                </a:lnTo>
                <a:lnTo>
                  <a:pt x="368186" y="917479"/>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4D4D4F"/>
              </a:solidFill>
            </a:endParaRPr>
          </a:p>
        </p:txBody>
      </p:sp>
      <p:sp>
        <p:nvSpPr>
          <p:cNvPr id="2" name="Title 1"/>
          <p:cNvSpPr>
            <a:spLocks noGrp="1"/>
          </p:cNvSpPr>
          <p:nvPr>
            <p:ph type="title"/>
          </p:nvPr>
        </p:nvSpPr>
        <p:spPr>
          <a:xfrm>
            <a:off x="363538" y="629512"/>
            <a:ext cx="8526244" cy="347472"/>
          </a:xfrm>
        </p:spPr>
        <p:txBody>
          <a:bodyPr/>
          <a:lstStyle>
            <a:lvl1pPr>
              <a:defRPr baseline="0">
                <a:solidFill>
                  <a:schemeClr val="bg1"/>
                </a:solidFill>
              </a:defRPr>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2725102" cy="4343400"/>
          </a:xfrm>
        </p:spPr>
        <p:txBody>
          <a:bodyPr/>
          <a:lstStyle>
            <a:lvl1pPr marL="0" indent="0">
              <a:spcBef>
                <a:spcPts val="0"/>
              </a:spcBef>
              <a:spcAft>
                <a:spcPts val="600"/>
              </a:spcAft>
              <a:buClr>
                <a:schemeClr val="bg1"/>
              </a:buClr>
              <a:buFont typeface="Arial" panose="020B0604020202020204" pitchFamily="34" charset="0"/>
              <a:buChar char="​"/>
              <a:defRPr sz="1600" b="1">
                <a:solidFill>
                  <a:schemeClr val="bg1"/>
                </a:solidFill>
              </a:defRPr>
            </a:lvl1pPr>
            <a:lvl2pPr marL="233363" indent="-233363">
              <a:buClr>
                <a:schemeClr val="bg1"/>
              </a:buClr>
              <a:defRPr sz="1400">
                <a:solidFill>
                  <a:schemeClr val="bg1"/>
                </a:solidFill>
              </a:defRPr>
            </a:lvl2pPr>
            <a:lvl3pPr marL="457200" indent="-223838">
              <a:buClr>
                <a:schemeClr val="bg1"/>
              </a:buClr>
              <a:buFont typeface="Arial" panose="020B0604020202020204" pitchFamily="34" charset="0"/>
              <a:buChar char="»"/>
              <a:defRPr sz="1400">
                <a:solidFill>
                  <a:schemeClr val="bg1"/>
                </a:solidFill>
              </a:defRPr>
            </a:lvl3pPr>
            <a:lvl4pPr marL="690563" indent="-233363">
              <a:buClr>
                <a:schemeClr val="bg1"/>
              </a:buClr>
              <a:defRPr sz="1200">
                <a:solidFill>
                  <a:schemeClr val="bg1"/>
                </a:solidFill>
              </a:defRPr>
            </a:lvl4pPr>
            <a:lvl5pPr marL="974725" indent="-284163">
              <a:buClr>
                <a:schemeClr val="bg1"/>
              </a:buClr>
              <a:defRPr sz="1200">
                <a:solidFill>
                  <a:schemeClr val="bg1"/>
                </a:solidFill>
              </a:defRPr>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Content Placeholder 4"/>
          <p:cNvSpPr>
            <a:spLocks noGrp="1"/>
          </p:cNvSpPr>
          <p:nvPr>
            <p:ph sz="quarter" idx="17"/>
          </p:nvPr>
        </p:nvSpPr>
        <p:spPr>
          <a:xfrm>
            <a:off x="3217482" y="1206500"/>
            <a:ext cx="2724912" cy="4338638"/>
          </a:xfrm>
        </p:spPr>
        <p:txBody>
          <a:bodyPr/>
          <a:lstStyle>
            <a:lvl1pPr marL="0" indent="0">
              <a:spcBef>
                <a:spcPts val="0"/>
              </a:spcBef>
              <a:spcAft>
                <a:spcPts val="600"/>
              </a:spcAft>
              <a:buClr>
                <a:schemeClr val="bg1"/>
              </a:buClr>
              <a:buFont typeface="Arial" panose="020B0604020202020204" pitchFamily="34" charset="0"/>
              <a:buChar char="​"/>
              <a:defRPr sz="1600" b="1">
                <a:solidFill>
                  <a:schemeClr val="bg1"/>
                </a:solidFill>
              </a:defRPr>
            </a:lvl1pPr>
            <a:lvl2pPr marL="233363" indent="-233363">
              <a:buClr>
                <a:schemeClr val="bg1"/>
              </a:buClr>
              <a:defRPr sz="1400">
                <a:solidFill>
                  <a:schemeClr val="bg1"/>
                </a:solidFill>
              </a:defRPr>
            </a:lvl2pPr>
            <a:lvl3pPr marL="457200" indent="-223838">
              <a:buClr>
                <a:schemeClr val="bg1"/>
              </a:buClr>
              <a:defRPr sz="1400">
                <a:solidFill>
                  <a:schemeClr val="bg1"/>
                </a:solidFill>
              </a:defRPr>
            </a:lvl3pPr>
            <a:lvl4pPr marL="690563" indent="-233363">
              <a:buClr>
                <a:schemeClr val="bg1"/>
              </a:buClr>
              <a:defRPr sz="1200">
                <a:solidFill>
                  <a:schemeClr val="bg1"/>
                </a:solidFill>
              </a:defRPr>
            </a:lvl4pPr>
            <a:lvl5pPr marL="914400" indent="-223838">
              <a:buClr>
                <a:schemeClr val="bg1"/>
              </a:buCl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8"/>
          </p:nvPr>
        </p:nvSpPr>
        <p:spPr>
          <a:xfrm>
            <a:off x="6071235" y="1206500"/>
            <a:ext cx="2736850" cy="4357688"/>
          </a:xfrm>
        </p:spPr>
        <p:txBody>
          <a:bodyPr/>
          <a:lstStyle>
            <a:lvl1pPr marL="0" indent="0">
              <a:spcBef>
                <a:spcPts val="0"/>
              </a:spcBef>
              <a:spcAft>
                <a:spcPts val="600"/>
              </a:spcAft>
              <a:buClr>
                <a:schemeClr val="bg1"/>
              </a:buClr>
              <a:buFont typeface="Arial" panose="020B0604020202020204" pitchFamily="34" charset="0"/>
              <a:buChar char="​"/>
              <a:defRPr sz="1600" b="1">
                <a:solidFill>
                  <a:schemeClr val="bg1"/>
                </a:solidFill>
              </a:defRPr>
            </a:lvl1pPr>
            <a:lvl2pPr marL="233363" indent="-233363">
              <a:buClr>
                <a:schemeClr val="bg1"/>
              </a:buClr>
              <a:defRPr sz="1400">
                <a:solidFill>
                  <a:schemeClr val="bg1"/>
                </a:solidFill>
              </a:defRPr>
            </a:lvl2pPr>
            <a:lvl3pPr marL="457200" indent="-223838">
              <a:buClr>
                <a:schemeClr val="bg1"/>
              </a:buClr>
              <a:defRPr sz="1400">
                <a:solidFill>
                  <a:schemeClr val="bg1"/>
                </a:solidFill>
              </a:defRPr>
            </a:lvl3pPr>
            <a:lvl4pPr marL="690563" indent="-233363">
              <a:buClr>
                <a:schemeClr val="bg1"/>
              </a:buClr>
              <a:defRPr sz="1200">
                <a:solidFill>
                  <a:schemeClr val="bg1"/>
                </a:solidFill>
              </a:defRPr>
            </a:lvl4pPr>
            <a:lvl5pPr marL="914400" indent="-223838">
              <a:buClr>
                <a:schemeClr val="bg1"/>
              </a:buCl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647340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Freeform 3"/>
          <p:cNvSpPr/>
          <p:nvPr userDrawn="1"/>
        </p:nvSpPr>
        <p:spPr bwMode="auto">
          <a:xfrm>
            <a:off x="6661150" y="0"/>
            <a:ext cx="2503488" cy="6858000"/>
          </a:xfrm>
          <a:custGeom>
            <a:avLst/>
            <a:gdLst>
              <a:gd name="connsiteX0" fmla="*/ 2241550 w 2503488"/>
              <a:gd name="connsiteY0" fmla="*/ 0 h 6858000"/>
              <a:gd name="connsiteX1" fmla="*/ 2503488 w 2503488"/>
              <a:gd name="connsiteY1" fmla="*/ 0 h 6858000"/>
              <a:gd name="connsiteX2" fmla="*/ 2503488 w 2503488"/>
              <a:gd name="connsiteY2" fmla="*/ 1701800 h 6858000"/>
              <a:gd name="connsiteX3" fmla="*/ 2491822 w 2503488"/>
              <a:gd name="connsiteY3" fmla="*/ 1681541 h 6858000"/>
              <a:gd name="connsiteX4" fmla="*/ 2491822 w 2503488"/>
              <a:gd name="connsiteY4" fmla="*/ 1681542 h 6858000"/>
              <a:gd name="connsiteX5" fmla="*/ 2503488 w 2503488"/>
              <a:gd name="connsiteY5" fmla="*/ 1701801 h 6858000"/>
              <a:gd name="connsiteX6" fmla="*/ 2503488 w 2503488"/>
              <a:gd name="connsiteY6" fmla="*/ 3879850 h 6858000"/>
              <a:gd name="connsiteX7" fmla="*/ 2503488 w 2503488"/>
              <a:gd name="connsiteY7" fmla="*/ 3879851 h 6858000"/>
              <a:gd name="connsiteX8" fmla="*/ 2503488 w 2503488"/>
              <a:gd name="connsiteY8" fmla="*/ 6057900 h 6858000"/>
              <a:gd name="connsiteX9" fmla="*/ 2039938 w 2503488"/>
              <a:gd name="connsiteY9" fmla="*/ 6858000 h 6858000"/>
              <a:gd name="connsiteX10" fmla="*/ 1722438 w 2503488"/>
              <a:gd name="connsiteY10" fmla="*/ 6858000 h 6858000"/>
              <a:gd name="connsiteX11" fmla="*/ 1 w 2503488"/>
              <a:gd name="connsiteY11" fmla="*/ 3879851 h 6858000"/>
              <a:gd name="connsiteX12" fmla="*/ 0 w 2503488"/>
              <a:gd name="connsiteY12" fmla="*/ 3879851 h 6858000"/>
              <a:gd name="connsiteX13" fmla="*/ 0 w 2503488"/>
              <a:gd name="connsiteY13" fmla="*/ 3879850 h 6858000"/>
              <a:gd name="connsiteX14" fmla="*/ 1 w 2503488"/>
              <a:gd name="connsiteY14" fmla="*/ 3879850 h 6858000"/>
              <a:gd name="connsiteX15" fmla="*/ 1722691 w 2503488"/>
              <a:gd name="connsiteY15" fmla="*/ 900729 h 6858000"/>
              <a:gd name="connsiteX16" fmla="*/ 1766524 w 2503488"/>
              <a:gd name="connsiteY16" fmla="*/ 824925 h 6858000"/>
              <a:gd name="connsiteX17" fmla="*/ 1882775 w 2503488"/>
              <a:gd name="connsiteY17" fmla="*/ 623888 h 6858000"/>
              <a:gd name="connsiteX18" fmla="*/ 1902681 w 2503488"/>
              <a:gd name="connsiteY18" fmla="*/ 658455 h 6858000"/>
              <a:gd name="connsiteX19" fmla="*/ 1882775 w 2503488"/>
              <a:gd name="connsiteY19" fmla="*/ 623887 h 6858000"/>
              <a:gd name="connsiteX20" fmla="*/ 2241550 w 2503488"/>
              <a:gd name="connsiteY20"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491822 w 2503488"/>
              <a:gd name="connsiteY3" fmla="*/ 1681541 h 6858000"/>
              <a:gd name="connsiteX4" fmla="*/ 2503488 w 2503488"/>
              <a:gd name="connsiteY4" fmla="*/ 1701801 h 6858000"/>
              <a:gd name="connsiteX5" fmla="*/ 2503488 w 2503488"/>
              <a:gd name="connsiteY5" fmla="*/ 3879850 h 6858000"/>
              <a:gd name="connsiteX6" fmla="*/ 2503488 w 2503488"/>
              <a:gd name="connsiteY6" fmla="*/ 3879851 h 6858000"/>
              <a:gd name="connsiteX7" fmla="*/ 2503488 w 2503488"/>
              <a:gd name="connsiteY7" fmla="*/ 6057900 h 6858000"/>
              <a:gd name="connsiteX8" fmla="*/ 2039938 w 2503488"/>
              <a:gd name="connsiteY8" fmla="*/ 6858000 h 6858000"/>
              <a:gd name="connsiteX9" fmla="*/ 1722438 w 2503488"/>
              <a:gd name="connsiteY9" fmla="*/ 6858000 h 6858000"/>
              <a:gd name="connsiteX10" fmla="*/ 1 w 2503488"/>
              <a:gd name="connsiteY10" fmla="*/ 3879851 h 6858000"/>
              <a:gd name="connsiteX11" fmla="*/ 0 w 2503488"/>
              <a:gd name="connsiteY11" fmla="*/ 3879851 h 6858000"/>
              <a:gd name="connsiteX12" fmla="*/ 0 w 2503488"/>
              <a:gd name="connsiteY12" fmla="*/ 3879850 h 6858000"/>
              <a:gd name="connsiteX13" fmla="*/ 1 w 2503488"/>
              <a:gd name="connsiteY13" fmla="*/ 3879850 h 6858000"/>
              <a:gd name="connsiteX14" fmla="*/ 1722691 w 2503488"/>
              <a:gd name="connsiteY14" fmla="*/ 900729 h 6858000"/>
              <a:gd name="connsiteX15" fmla="*/ 1766524 w 2503488"/>
              <a:gd name="connsiteY15" fmla="*/ 824925 h 6858000"/>
              <a:gd name="connsiteX16" fmla="*/ 1882775 w 2503488"/>
              <a:gd name="connsiteY16" fmla="*/ 623888 h 6858000"/>
              <a:gd name="connsiteX17" fmla="*/ 1902681 w 2503488"/>
              <a:gd name="connsiteY17" fmla="*/ 658455 h 6858000"/>
              <a:gd name="connsiteX18" fmla="*/ 1882775 w 2503488"/>
              <a:gd name="connsiteY18" fmla="*/ 623887 h 6858000"/>
              <a:gd name="connsiteX19" fmla="*/ 2241550 w 2503488"/>
              <a:gd name="connsiteY19"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503488 w 2503488"/>
              <a:gd name="connsiteY3" fmla="*/ 1701801 h 6858000"/>
              <a:gd name="connsiteX4" fmla="*/ 2503488 w 2503488"/>
              <a:gd name="connsiteY4" fmla="*/ 3879850 h 6858000"/>
              <a:gd name="connsiteX5" fmla="*/ 2503488 w 2503488"/>
              <a:gd name="connsiteY5" fmla="*/ 3879851 h 6858000"/>
              <a:gd name="connsiteX6" fmla="*/ 2503488 w 2503488"/>
              <a:gd name="connsiteY6" fmla="*/ 6057900 h 6858000"/>
              <a:gd name="connsiteX7" fmla="*/ 2039938 w 2503488"/>
              <a:gd name="connsiteY7" fmla="*/ 6858000 h 6858000"/>
              <a:gd name="connsiteX8" fmla="*/ 1722438 w 2503488"/>
              <a:gd name="connsiteY8" fmla="*/ 6858000 h 6858000"/>
              <a:gd name="connsiteX9" fmla="*/ 1 w 2503488"/>
              <a:gd name="connsiteY9" fmla="*/ 3879851 h 6858000"/>
              <a:gd name="connsiteX10" fmla="*/ 0 w 2503488"/>
              <a:gd name="connsiteY10" fmla="*/ 3879851 h 6858000"/>
              <a:gd name="connsiteX11" fmla="*/ 0 w 2503488"/>
              <a:gd name="connsiteY11" fmla="*/ 3879850 h 6858000"/>
              <a:gd name="connsiteX12" fmla="*/ 1 w 2503488"/>
              <a:gd name="connsiteY12" fmla="*/ 3879850 h 6858000"/>
              <a:gd name="connsiteX13" fmla="*/ 1722691 w 2503488"/>
              <a:gd name="connsiteY13" fmla="*/ 900729 h 6858000"/>
              <a:gd name="connsiteX14" fmla="*/ 1766524 w 2503488"/>
              <a:gd name="connsiteY14" fmla="*/ 824925 h 6858000"/>
              <a:gd name="connsiteX15" fmla="*/ 1882775 w 2503488"/>
              <a:gd name="connsiteY15" fmla="*/ 623888 h 6858000"/>
              <a:gd name="connsiteX16" fmla="*/ 1902681 w 2503488"/>
              <a:gd name="connsiteY16" fmla="*/ 658455 h 6858000"/>
              <a:gd name="connsiteX17" fmla="*/ 1882775 w 2503488"/>
              <a:gd name="connsiteY17" fmla="*/ 623887 h 6858000"/>
              <a:gd name="connsiteX18" fmla="*/ 2241550 w 2503488"/>
              <a:gd name="connsiteY18" fmla="*/ 0 h 6858000"/>
              <a:gd name="connsiteX0" fmla="*/ 2241550 w 2503488"/>
              <a:gd name="connsiteY0" fmla="*/ 0 h 6858000"/>
              <a:gd name="connsiteX1" fmla="*/ 2503488 w 2503488"/>
              <a:gd name="connsiteY1" fmla="*/ 0 h 6858000"/>
              <a:gd name="connsiteX2" fmla="*/ 2503488 w 2503488"/>
              <a:gd name="connsiteY2" fmla="*/ 1701800 h 6858000"/>
              <a:gd name="connsiteX3" fmla="*/ 2503488 w 2503488"/>
              <a:gd name="connsiteY3" fmla="*/ 3879850 h 6858000"/>
              <a:gd name="connsiteX4" fmla="*/ 2503488 w 2503488"/>
              <a:gd name="connsiteY4" fmla="*/ 3879851 h 6858000"/>
              <a:gd name="connsiteX5" fmla="*/ 2503488 w 2503488"/>
              <a:gd name="connsiteY5" fmla="*/ 6057900 h 6858000"/>
              <a:gd name="connsiteX6" fmla="*/ 2039938 w 2503488"/>
              <a:gd name="connsiteY6" fmla="*/ 6858000 h 6858000"/>
              <a:gd name="connsiteX7" fmla="*/ 1722438 w 2503488"/>
              <a:gd name="connsiteY7" fmla="*/ 6858000 h 6858000"/>
              <a:gd name="connsiteX8" fmla="*/ 1 w 2503488"/>
              <a:gd name="connsiteY8" fmla="*/ 3879851 h 6858000"/>
              <a:gd name="connsiteX9" fmla="*/ 0 w 2503488"/>
              <a:gd name="connsiteY9" fmla="*/ 3879851 h 6858000"/>
              <a:gd name="connsiteX10" fmla="*/ 0 w 2503488"/>
              <a:gd name="connsiteY10" fmla="*/ 3879850 h 6858000"/>
              <a:gd name="connsiteX11" fmla="*/ 1 w 2503488"/>
              <a:gd name="connsiteY11" fmla="*/ 3879850 h 6858000"/>
              <a:gd name="connsiteX12" fmla="*/ 1722691 w 2503488"/>
              <a:gd name="connsiteY12" fmla="*/ 900729 h 6858000"/>
              <a:gd name="connsiteX13" fmla="*/ 1766524 w 2503488"/>
              <a:gd name="connsiteY13" fmla="*/ 824925 h 6858000"/>
              <a:gd name="connsiteX14" fmla="*/ 1882775 w 2503488"/>
              <a:gd name="connsiteY14" fmla="*/ 623888 h 6858000"/>
              <a:gd name="connsiteX15" fmla="*/ 1902681 w 2503488"/>
              <a:gd name="connsiteY15" fmla="*/ 658455 h 6858000"/>
              <a:gd name="connsiteX16" fmla="*/ 1882775 w 2503488"/>
              <a:gd name="connsiteY16" fmla="*/ 623887 h 6858000"/>
              <a:gd name="connsiteX17" fmla="*/ 2241550 w 2503488"/>
              <a:gd name="connsiteY17"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1902681 w 2503488"/>
              <a:gd name="connsiteY14" fmla="*/ 658455 h 6858000"/>
              <a:gd name="connsiteX15" fmla="*/ 1882775 w 2503488"/>
              <a:gd name="connsiteY15" fmla="*/ 623887 h 6858000"/>
              <a:gd name="connsiteX16" fmla="*/ 2241550 w 2503488"/>
              <a:gd name="connsiteY16"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1882775 w 2503488"/>
              <a:gd name="connsiteY14" fmla="*/ 623887 h 6858000"/>
              <a:gd name="connsiteX15" fmla="*/ 2241550 w 2503488"/>
              <a:gd name="connsiteY15"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1882775 w 2503488"/>
              <a:gd name="connsiteY13" fmla="*/ 623888 h 6858000"/>
              <a:gd name="connsiteX14" fmla="*/ 2241550 w 2503488"/>
              <a:gd name="connsiteY14"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22691 w 2503488"/>
              <a:gd name="connsiteY11" fmla="*/ 900729 h 6858000"/>
              <a:gd name="connsiteX12" fmla="*/ 1766524 w 2503488"/>
              <a:gd name="connsiteY12" fmla="*/ 824925 h 6858000"/>
              <a:gd name="connsiteX13" fmla="*/ 2241550 w 2503488"/>
              <a:gd name="connsiteY13" fmla="*/ 0 h 6858000"/>
              <a:gd name="connsiteX0" fmla="*/ 2241550 w 2503488"/>
              <a:gd name="connsiteY0" fmla="*/ 0 h 6858000"/>
              <a:gd name="connsiteX1" fmla="*/ 2503488 w 2503488"/>
              <a:gd name="connsiteY1" fmla="*/ 0 h 6858000"/>
              <a:gd name="connsiteX2" fmla="*/ 2503488 w 2503488"/>
              <a:gd name="connsiteY2" fmla="*/ 3879850 h 6858000"/>
              <a:gd name="connsiteX3" fmla="*/ 2503488 w 2503488"/>
              <a:gd name="connsiteY3" fmla="*/ 3879851 h 6858000"/>
              <a:gd name="connsiteX4" fmla="*/ 2503488 w 2503488"/>
              <a:gd name="connsiteY4" fmla="*/ 6057900 h 6858000"/>
              <a:gd name="connsiteX5" fmla="*/ 2039938 w 2503488"/>
              <a:gd name="connsiteY5" fmla="*/ 6858000 h 6858000"/>
              <a:gd name="connsiteX6" fmla="*/ 1722438 w 2503488"/>
              <a:gd name="connsiteY6" fmla="*/ 6858000 h 6858000"/>
              <a:gd name="connsiteX7" fmla="*/ 1 w 2503488"/>
              <a:gd name="connsiteY7" fmla="*/ 3879851 h 6858000"/>
              <a:gd name="connsiteX8" fmla="*/ 0 w 2503488"/>
              <a:gd name="connsiteY8" fmla="*/ 3879851 h 6858000"/>
              <a:gd name="connsiteX9" fmla="*/ 0 w 2503488"/>
              <a:gd name="connsiteY9" fmla="*/ 3879850 h 6858000"/>
              <a:gd name="connsiteX10" fmla="*/ 1 w 2503488"/>
              <a:gd name="connsiteY10" fmla="*/ 3879850 h 6858000"/>
              <a:gd name="connsiteX11" fmla="*/ 1766524 w 2503488"/>
              <a:gd name="connsiteY11" fmla="*/ 824925 h 6858000"/>
              <a:gd name="connsiteX12" fmla="*/ 2241550 w 2503488"/>
              <a:gd name="connsiteY12"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3488" h="6858000">
                <a:moveTo>
                  <a:pt x="2241550" y="0"/>
                </a:moveTo>
                <a:lnTo>
                  <a:pt x="2503488" y="0"/>
                </a:lnTo>
                <a:lnTo>
                  <a:pt x="2503488" y="3879850"/>
                </a:lnTo>
                <a:lnTo>
                  <a:pt x="2503488" y="3879851"/>
                </a:lnTo>
                <a:lnTo>
                  <a:pt x="2503488" y="6057900"/>
                </a:lnTo>
                <a:lnTo>
                  <a:pt x="2039938" y="6858000"/>
                </a:lnTo>
                <a:lnTo>
                  <a:pt x="1722438" y="6858000"/>
                </a:lnTo>
                <a:lnTo>
                  <a:pt x="1" y="3879851"/>
                </a:lnTo>
                <a:lnTo>
                  <a:pt x="0" y="3879851"/>
                </a:lnTo>
                <a:lnTo>
                  <a:pt x="0" y="3879850"/>
                </a:lnTo>
                <a:lnTo>
                  <a:pt x="1" y="3879850"/>
                </a:lnTo>
                <a:lnTo>
                  <a:pt x="1766524" y="824925"/>
                </a:lnTo>
                <a:lnTo>
                  <a:pt x="2241550"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5" name="Freeform 6"/>
          <p:cNvSpPr>
            <a:spLocks/>
          </p:cNvSpPr>
          <p:nvPr userDrawn="1"/>
        </p:nvSpPr>
        <p:spPr bwMode="auto">
          <a:xfrm>
            <a:off x="4420553" y="0"/>
            <a:ext cx="4742180" cy="3877946"/>
          </a:xfrm>
          <a:custGeom>
            <a:avLst/>
            <a:gdLst>
              <a:gd name="connsiteX0" fmla="*/ 0 w 4742180"/>
              <a:gd name="connsiteY0" fmla="*/ 0 h 3877946"/>
              <a:gd name="connsiteX1" fmla="*/ 3760788 w 4742180"/>
              <a:gd name="connsiteY1" fmla="*/ 0 h 3877946"/>
              <a:gd name="connsiteX2" fmla="*/ 4120670 w 4742180"/>
              <a:gd name="connsiteY2" fmla="*/ 623361 h 3877946"/>
              <a:gd name="connsiteX3" fmla="*/ 4121467 w 4742180"/>
              <a:gd name="connsiteY3" fmla="*/ 621983 h 3877946"/>
              <a:gd name="connsiteX4" fmla="*/ 4742180 w 4742180"/>
              <a:gd name="connsiteY4" fmla="*/ 1699896 h 3877946"/>
              <a:gd name="connsiteX5" fmla="*/ 4742180 w 4742180"/>
              <a:gd name="connsiteY5" fmla="*/ 3877946 h 3877946"/>
              <a:gd name="connsiteX6" fmla="*/ 2238693 w 4742180"/>
              <a:gd name="connsiteY6" fmla="*/ 3877946 h 3877946"/>
              <a:gd name="connsiteX7" fmla="*/ 2238692 w 4742180"/>
              <a:gd name="connsiteY7" fmla="*/ 3877946 h 3877946"/>
              <a:gd name="connsiteX8" fmla="*/ 2238692 w 4742180"/>
              <a:gd name="connsiteY8" fmla="*/ 3877945 h 3877946"/>
              <a:gd name="connsiteX9" fmla="*/ 2238693 w 4742180"/>
              <a:gd name="connsiteY9" fmla="*/ 3877945 h 3877946"/>
              <a:gd name="connsiteX10" fmla="*/ 2238778 w 4742180"/>
              <a:gd name="connsiteY10" fmla="*/ 3877798 h 3877946"/>
              <a:gd name="connsiteX11" fmla="*/ 0 w 4742180"/>
              <a:gd name="connsiteY11" fmla="*/ 0 h 3877946"/>
              <a:gd name="connsiteX0" fmla="*/ 0 w 4742180"/>
              <a:gd name="connsiteY0" fmla="*/ 0 h 3877946"/>
              <a:gd name="connsiteX1" fmla="*/ 3760788 w 4742180"/>
              <a:gd name="connsiteY1" fmla="*/ 0 h 3877946"/>
              <a:gd name="connsiteX2" fmla="*/ 4120670 w 4742180"/>
              <a:gd name="connsiteY2" fmla="*/ 623361 h 3877946"/>
              <a:gd name="connsiteX3" fmla="*/ 4742180 w 4742180"/>
              <a:gd name="connsiteY3" fmla="*/ 1699896 h 3877946"/>
              <a:gd name="connsiteX4" fmla="*/ 4742180 w 4742180"/>
              <a:gd name="connsiteY4" fmla="*/ 3877946 h 3877946"/>
              <a:gd name="connsiteX5" fmla="*/ 2238693 w 4742180"/>
              <a:gd name="connsiteY5" fmla="*/ 3877946 h 3877946"/>
              <a:gd name="connsiteX6" fmla="*/ 2238692 w 4742180"/>
              <a:gd name="connsiteY6" fmla="*/ 3877946 h 3877946"/>
              <a:gd name="connsiteX7" fmla="*/ 2238692 w 4742180"/>
              <a:gd name="connsiteY7" fmla="*/ 3877945 h 3877946"/>
              <a:gd name="connsiteX8" fmla="*/ 2238693 w 4742180"/>
              <a:gd name="connsiteY8" fmla="*/ 3877945 h 3877946"/>
              <a:gd name="connsiteX9" fmla="*/ 2238778 w 4742180"/>
              <a:gd name="connsiteY9" fmla="*/ 3877798 h 3877946"/>
              <a:gd name="connsiteX10" fmla="*/ 0 w 4742180"/>
              <a:gd name="connsiteY10" fmla="*/ 0 h 3877946"/>
              <a:gd name="connsiteX0" fmla="*/ 0 w 4742180"/>
              <a:gd name="connsiteY0" fmla="*/ 0 h 3877946"/>
              <a:gd name="connsiteX1" fmla="*/ 3760788 w 4742180"/>
              <a:gd name="connsiteY1" fmla="*/ 0 h 3877946"/>
              <a:gd name="connsiteX2" fmla="*/ 4742180 w 4742180"/>
              <a:gd name="connsiteY2" fmla="*/ 1699896 h 3877946"/>
              <a:gd name="connsiteX3" fmla="*/ 4742180 w 4742180"/>
              <a:gd name="connsiteY3" fmla="*/ 3877946 h 3877946"/>
              <a:gd name="connsiteX4" fmla="*/ 2238693 w 4742180"/>
              <a:gd name="connsiteY4" fmla="*/ 3877946 h 3877946"/>
              <a:gd name="connsiteX5" fmla="*/ 2238692 w 4742180"/>
              <a:gd name="connsiteY5" fmla="*/ 3877946 h 3877946"/>
              <a:gd name="connsiteX6" fmla="*/ 2238692 w 4742180"/>
              <a:gd name="connsiteY6" fmla="*/ 3877945 h 3877946"/>
              <a:gd name="connsiteX7" fmla="*/ 2238693 w 4742180"/>
              <a:gd name="connsiteY7" fmla="*/ 3877945 h 3877946"/>
              <a:gd name="connsiteX8" fmla="*/ 2238778 w 4742180"/>
              <a:gd name="connsiteY8" fmla="*/ 3877798 h 3877946"/>
              <a:gd name="connsiteX9" fmla="*/ 0 w 4742180"/>
              <a:gd name="connsiteY9" fmla="*/ 0 h 387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2180" h="3877946">
                <a:moveTo>
                  <a:pt x="0" y="0"/>
                </a:moveTo>
                <a:lnTo>
                  <a:pt x="3760788" y="0"/>
                </a:lnTo>
                <a:lnTo>
                  <a:pt x="4742180" y="1699896"/>
                </a:lnTo>
                <a:lnTo>
                  <a:pt x="4742180" y="3877946"/>
                </a:lnTo>
                <a:lnTo>
                  <a:pt x="2238693" y="3877946"/>
                </a:lnTo>
                <a:lnTo>
                  <a:pt x="2238692" y="3877946"/>
                </a:lnTo>
                <a:lnTo>
                  <a:pt x="2238692" y="3877945"/>
                </a:lnTo>
                <a:lnTo>
                  <a:pt x="2238693" y="3877945"/>
                </a:lnTo>
                <a:cubicBezTo>
                  <a:pt x="2238721" y="3877896"/>
                  <a:pt x="2238750" y="3877847"/>
                  <a:pt x="2238778" y="3877798"/>
                </a:cubicBezTo>
                <a:lnTo>
                  <a:pt x="0" y="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8" name="Freeform 6"/>
          <p:cNvSpPr>
            <a:spLocks/>
          </p:cNvSpPr>
          <p:nvPr userDrawn="1"/>
        </p:nvSpPr>
        <p:spPr bwMode="auto">
          <a:xfrm>
            <a:off x="6661150" y="623888"/>
            <a:ext cx="2503488" cy="3255963"/>
          </a:xfrm>
          <a:custGeom>
            <a:avLst/>
            <a:gdLst>
              <a:gd name="T0" fmla="*/ 0 w 1577"/>
              <a:gd name="T1" fmla="*/ 2051 h 2051"/>
              <a:gd name="T2" fmla="*/ 1577 w 1577"/>
              <a:gd name="T3" fmla="*/ 2051 h 2051"/>
              <a:gd name="T4" fmla="*/ 1577 w 1577"/>
              <a:gd name="T5" fmla="*/ 679 h 2051"/>
              <a:gd name="T6" fmla="*/ 1186 w 1577"/>
              <a:gd name="T7" fmla="*/ 0 h 2051"/>
              <a:gd name="T8" fmla="*/ 0 w 1577"/>
              <a:gd name="T9" fmla="*/ 2051 h 2051"/>
            </a:gdLst>
            <a:ahLst/>
            <a:cxnLst>
              <a:cxn ang="0">
                <a:pos x="T0" y="T1"/>
              </a:cxn>
              <a:cxn ang="0">
                <a:pos x="T2" y="T3"/>
              </a:cxn>
              <a:cxn ang="0">
                <a:pos x="T4" y="T5"/>
              </a:cxn>
              <a:cxn ang="0">
                <a:pos x="T6" y="T7"/>
              </a:cxn>
              <a:cxn ang="0">
                <a:pos x="T8" y="T9"/>
              </a:cxn>
            </a:cxnLst>
            <a:rect l="0" t="0" r="r" b="b"/>
            <a:pathLst>
              <a:path w="1577" h="2051">
                <a:moveTo>
                  <a:pt x="0" y="2051"/>
                </a:moveTo>
                <a:lnTo>
                  <a:pt x="1577" y="2051"/>
                </a:lnTo>
                <a:lnTo>
                  <a:pt x="1577" y="679"/>
                </a:lnTo>
                <a:lnTo>
                  <a:pt x="1186" y="0"/>
                </a:lnTo>
                <a:lnTo>
                  <a:pt x="0" y="2051"/>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0798296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2648584"/>
            <a:ext cx="5667534" cy="1470025"/>
          </a:xfrm>
        </p:spPr>
        <p:txBody>
          <a:bodyPr anchor="b"/>
          <a:lstStyle>
            <a:lvl1pPr>
              <a:defRPr sz="400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67506" y="4161551"/>
            <a:ext cx="5669280" cy="488157"/>
          </a:xfrm>
        </p:spPr>
        <p:txBody>
          <a:bodyPr anchor="t"/>
          <a:lstStyle>
            <a:lvl1pPr marL="0" indent="0" algn="l">
              <a:buNone/>
              <a:defRPr sz="28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65" name="Text Placeholder 64"/>
          <p:cNvSpPr>
            <a:spLocks noGrp="1"/>
          </p:cNvSpPr>
          <p:nvPr>
            <p:ph type="body" sz="quarter" idx="10" hasCustomPrompt="1"/>
          </p:nvPr>
        </p:nvSpPr>
        <p:spPr>
          <a:xfrm>
            <a:off x="367506" y="4673918"/>
            <a:ext cx="5669280" cy="345122"/>
          </a:xfrm>
        </p:spPr>
        <p:txBody>
          <a:bodyPr>
            <a:noAutofit/>
          </a:bodyPr>
          <a:lstStyle>
            <a:lvl1pPr marL="0" indent="0">
              <a:buNone/>
              <a:defRPr b="0">
                <a:solidFill>
                  <a:schemeClr val="tx1"/>
                </a:solidFill>
              </a:defRPr>
            </a:lvl1pPr>
          </a:lstStyle>
          <a:p>
            <a:pPr lvl="0"/>
            <a:r>
              <a:rPr lang="en-US" b="0" dirty="0"/>
              <a:t>Date</a:t>
            </a:r>
            <a:endParaRPr lang="en-US" dirty="0"/>
          </a:p>
        </p:txBody>
      </p:sp>
      <p:grpSp>
        <p:nvGrpSpPr>
          <p:cNvPr id="31" name="Group 30"/>
          <p:cNvGrpSpPr/>
          <p:nvPr userDrawn="1"/>
        </p:nvGrpSpPr>
        <p:grpSpPr>
          <a:xfrm>
            <a:off x="374651" y="6029325"/>
            <a:ext cx="2054224" cy="403225"/>
            <a:chOff x="374651" y="6029325"/>
            <a:chExt cx="2054224" cy="403225"/>
          </a:xfrm>
        </p:grpSpPr>
        <p:sp>
          <p:nvSpPr>
            <p:cNvPr id="32"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3"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4" name="Freeform 33"/>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5" name="Freeform 34"/>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6" name="Freeform 35"/>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7" name="Freeform 36"/>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8" name="Freeform 37"/>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9" name="Freeform 38"/>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0"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1"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2"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3"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4"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5"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6"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7"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8"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9940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1" name="Text Placeholder 2"/>
          <p:cNvSpPr>
            <a:spLocks noGrp="1"/>
          </p:cNvSpPr>
          <p:nvPr>
            <p:ph type="body" sz="quarter" idx="24"/>
            <p:custDataLst>
              <p:tags r:id="rId1"/>
            </p:custDataLst>
          </p:nvPr>
        </p:nvSpPr>
        <p:spPr>
          <a:xfrm>
            <a:off x="366712" y="1290279"/>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2" name="Text Placeholder 2"/>
          <p:cNvSpPr>
            <a:spLocks noGrp="1"/>
          </p:cNvSpPr>
          <p:nvPr>
            <p:ph type="body" sz="quarter" idx="25"/>
            <p:custDataLst>
              <p:tags r:id="rId2"/>
            </p:custDataLst>
          </p:nvPr>
        </p:nvSpPr>
        <p:spPr>
          <a:xfrm>
            <a:off x="366712" y="1933675"/>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3" name="Text Placeholder 2"/>
          <p:cNvSpPr>
            <a:spLocks noGrp="1"/>
          </p:cNvSpPr>
          <p:nvPr>
            <p:ph type="body" sz="quarter" idx="26"/>
            <p:custDataLst>
              <p:tags r:id="rId3"/>
            </p:custDataLst>
          </p:nvPr>
        </p:nvSpPr>
        <p:spPr>
          <a:xfrm>
            <a:off x="366712" y="2577071"/>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4" name="Text Placeholder 2"/>
          <p:cNvSpPr>
            <a:spLocks noGrp="1"/>
          </p:cNvSpPr>
          <p:nvPr>
            <p:ph type="body" sz="quarter" idx="27"/>
            <p:custDataLst>
              <p:tags r:id="rId4"/>
            </p:custDataLst>
          </p:nvPr>
        </p:nvSpPr>
        <p:spPr>
          <a:xfrm>
            <a:off x="366712" y="3220467"/>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5" name="Text Placeholder 2"/>
          <p:cNvSpPr>
            <a:spLocks noGrp="1"/>
          </p:cNvSpPr>
          <p:nvPr>
            <p:ph type="body" sz="quarter" idx="28"/>
            <p:custDataLst>
              <p:tags r:id="rId5"/>
            </p:custDataLst>
          </p:nvPr>
        </p:nvSpPr>
        <p:spPr>
          <a:xfrm>
            <a:off x="366712" y="3863863"/>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6" name="Text Placeholder 2"/>
          <p:cNvSpPr>
            <a:spLocks noGrp="1"/>
          </p:cNvSpPr>
          <p:nvPr>
            <p:ph type="body" sz="quarter" idx="29"/>
            <p:custDataLst>
              <p:tags r:id="rId6"/>
            </p:custDataLst>
          </p:nvPr>
        </p:nvSpPr>
        <p:spPr>
          <a:xfrm>
            <a:off x="366712" y="4507258"/>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77" name="Text Placeholder 2"/>
          <p:cNvSpPr>
            <a:spLocks noGrp="1"/>
          </p:cNvSpPr>
          <p:nvPr>
            <p:ph type="body" sz="quarter" idx="30"/>
            <p:custDataLst>
              <p:tags r:id="rId7"/>
            </p:custDataLst>
          </p:nvPr>
        </p:nvSpPr>
        <p:spPr>
          <a:xfrm>
            <a:off x="366712" y="5150652"/>
            <a:ext cx="7434001" cy="457200"/>
          </a:xfrm>
          <a:prstGeom prst="parallelogram">
            <a:avLst>
              <a:gd name="adj" fmla="val 61734"/>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ctr"/>
          <a:lstStyle>
            <a:lvl1pPr marL="0" indent="0">
              <a:buFont typeface="Arial" panose="020B0604020202020204" pitchFamily="34" charset="0"/>
              <a:buChar char="​"/>
              <a:defRPr lang="en-US" sz="2000" dirty="0" smtClean="0">
                <a:solidFill>
                  <a:schemeClr val="tx1"/>
                </a:solidFill>
                <a:latin typeface="Arial" panose="020B0604020202020204" pitchFamily="34" charset="0"/>
                <a:cs typeface="Arial" panose="020B0604020202020204" pitchFamily="34" charset="0"/>
              </a:defRPr>
            </a:lvl1pPr>
          </a:lstStyle>
          <a:p>
            <a:pPr lvl="0">
              <a:spcBef>
                <a:spcPct val="0"/>
              </a:spcBef>
            </a:pPr>
            <a:r>
              <a:rPr lang="en-US"/>
              <a:t>Click to edit Master text styles</a:t>
            </a:r>
          </a:p>
        </p:txBody>
      </p:sp>
      <p:sp>
        <p:nvSpPr>
          <p:cNvPr id="2" name="Title 1"/>
          <p:cNvSpPr>
            <a:spLocks noGrp="1"/>
          </p:cNvSpPr>
          <p:nvPr>
            <p:ph type="title"/>
          </p:nvPr>
        </p:nvSpPr>
        <p:spPr>
          <a:xfrm>
            <a:off x="363538" y="629512"/>
            <a:ext cx="8432800" cy="347472"/>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pPr>
              <a:defRPr/>
            </a:pPr>
            <a:fld id="{91D03FF3-2B9E-4617-A592-48F56EC63E6E}" type="slidenum">
              <a:rPr lang="en-US">
                <a:solidFill>
                  <a:srgbClr val="38454F"/>
                </a:solidFill>
              </a:rPr>
              <a:pPr>
                <a:defRPr/>
              </a:pPr>
              <a:t>‹#›</a:t>
            </a:fld>
            <a:endParaRPr lang="en-US" dirty="0">
              <a:solidFill>
                <a:srgbClr val="38454F"/>
              </a:solidFill>
            </a:endParaRPr>
          </a:p>
        </p:txBody>
      </p:sp>
      <p:sp>
        <p:nvSpPr>
          <p:cNvPr id="61" name="Text Placeholder 60"/>
          <p:cNvSpPr>
            <a:spLocks noGrp="1"/>
          </p:cNvSpPr>
          <p:nvPr>
            <p:ph type="body" sz="quarter" idx="12" hasCustomPrompt="1"/>
          </p:nvPr>
        </p:nvSpPr>
        <p:spPr>
          <a:xfrm>
            <a:off x="366713" y="1290279"/>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lvl1pPr marL="0" indent="0">
              <a:buFont typeface="Arial" panose="020B0604020202020204" pitchFamily="34" charset="0"/>
              <a:buChar char="​"/>
              <a:defRPr lang="en-US" sz="2400" b="1" dirty="0" smtClean="0">
                <a:solidFill>
                  <a:schemeClr val="bg1"/>
                </a:solidFill>
                <a:latin typeface="Arial" panose="020B0604020202020204" pitchFamily="34" charset="0"/>
                <a:cs typeface="Arial" panose="020B0604020202020204" pitchFamily="34" charset="0"/>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marL="1595437" indent="0">
              <a:buNone/>
              <a:defRPr lang="en-US" dirty="0">
                <a:solidFill>
                  <a:schemeClr val="lt1"/>
                </a:solidFill>
              </a:defRPr>
            </a:lvl5pPr>
          </a:lstStyle>
          <a:p>
            <a:pPr lvl="0" algn="ctr">
              <a:spcBef>
                <a:spcPct val="0"/>
              </a:spcBef>
            </a:pPr>
            <a:r>
              <a:rPr lang="en-US" dirty="0"/>
              <a:t>#</a:t>
            </a:r>
          </a:p>
        </p:txBody>
      </p:sp>
      <p:sp>
        <p:nvSpPr>
          <p:cNvPr id="63" name="Text Placeholder 60"/>
          <p:cNvSpPr>
            <a:spLocks noGrp="1"/>
          </p:cNvSpPr>
          <p:nvPr>
            <p:ph type="body" sz="quarter" idx="13" hasCustomPrompt="1"/>
          </p:nvPr>
        </p:nvSpPr>
        <p:spPr>
          <a:xfrm>
            <a:off x="366713" y="1934469"/>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4" name="Text Placeholder 60"/>
          <p:cNvSpPr>
            <a:spLocks noGrp="1"/>
          </p:cNvSpPr>
          <p:nvPr>
            <p:ph type="body" sz="quarter" idx="14" hasCustomPrompt="1"/>
          </p:nvPr>
        </p:nvSpPr>
        <p:spPr>
          <a:xfrm>
            <a:off x="366713" y="25778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5" name="Text Placeholder 60"/>
          <p:cNvSpPr>
            <a:spLocks noGrp="1"/>
          </p:cNvSpPr>
          <p:nvPr>
            <p:ph type="body" sz="quarter" idx="15" hasCustomPrompt="1"/>
          </p:nvPr>
        </p:nvSpPr>
        <p:spPr>
          <a:xfrm>
            <a:off x="366713" y="32214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6" name="Text Placeholder 60"/>
          <p:cNvSpPr>
            <a:spLocks noGrp="1"/>
          </p:cNvSpPr>
          <p:nvPr>
            <p:ph type="body" sz="quarter" idx="16" hasCustomPrompt="1"/>
          </p:nvPr>
        </p:nvSpPr>
        <p:spPr>
          <a:xfrm>
            <a:off x="366713" y="38650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7" name="Text Placeholder 60"/>
          <p:cNvSpPr>
            <a:spLocks noGrp="1"/>
          </p:cNvSpPr>
          <p:nvPr>
            <p:ph type="body" sz="quarter" idx="17" hasCustomPrompt="1"/>
          </p:nvPr>
        </p:nvSpPr>
        <p:spPr>
          <a:xfrm>
            <a:off x="366713" y="4508638"/>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
        <p:nvSpPr>
          <p:cNvPr id="68" name="Text Placeholder 60"/>
          <p:cNvSpPr>
            <a:spLocks noGrp="1"/>
          </p:cNvSpPr>
          <p:nvPr>
            <p:ph type="body" sz="quarter" idx="18" hasCustomPrompt="1"/>
          </p:nvPr>
        </p:nvSpPr>
        <p:spPr>
          <a:xfrm>
            <a:off x="366713" y="5152240"/>
            <a:ext cx="455612" cy="455612"/>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37160" tIns="0" rIns="137160" bIns="0" rtlCol="0" anchor="ctr">
            <a:noAutofit/>
          </a:bodyPr>
          <a:lstStyle>
            <a:lvl1pPr>
              <a:buFontTx/>
              <a:buNone/>
              <a:defRPr lang="en-US" sz="2400" b="1" dirty="0" smtClean="0">
                <a:solidFill>
                  <a:schemeClr val="bg1"/>
                </a:solidFill>
                <a:latin typeface="Arial" panose="020B0604020202020204" pitchFamily="34" charset="0"/>
                <a:cs typeface="Arial" panose="020B0604020202020204" pitchFamily="34" charset="0"/>
              </a:defRPr>
            </a:lvl1pPr>
          </a:lstStyle>
          <a:p>
            <a:pPr marL="0" lvl="0" indent="0" algn="ctr">
              <a:spcBef>
                <a:spcPct val="0"/>
              </a:spcBef>
              <a:buChar char="​"/>
            </a:pPr>
            <a:r>
              <a:rPr lang="en-US" dirty="0"/>
              <a:t>#</a:t>
            </a:r>
          </a:p>
        </p:txBody>
      </p:sp>
    </p:spTree>
    <p:extLst>
      <p:ext uri="{BB962C8B-B14F-4D97-AF65-F5344CB8AC3E}">
        <p14:creationId xmlns:p14="http://schemas.microsoft.com/office/powerpoint/2010/main" val="2967002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432800" cy="347472"/>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pPr>
              <a:defRPr/>
            </a:pPr>
            <a:fld id="{91D03FF3-2B9E-4617-A592-48F56EC63E6E}" type="slidenum">
              <a:rPr lang="en-US">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991785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5"/>
          <p:cNvSpPr>
            <a:spLocks noGrp="1" noChangeAspect="1"/>
          </p:cNvSpPr>
          <p:nvPr>
            <p:ph type="sldNum" sz="quarter" idx="11"/>
          </p:nvPr>
        </p:nvSpPr>
        <p:spPr/>
        <p:txBody>
          <a:bodyPr/>
          <a:lstStyle>
            <a:lvl1pPr>
              <a:defRPr/>
            </a:lvl1pPr>
          </a:lstStyle>
          <a:p>
            <a:pPr>
              <a:defRPr/>
            </a:pPr>
            <a:fld id="{0EE25AFF-DC43-4D65-915F-22B9B4081F3B}" type="slidenum">
              <a:rPr lang="en-US">
                <a:solidFill>
                  <a:srgbClr val="4D4D4F"/>
                </a:solidFill>
              </a:rPr>
              <a:pPr>
                <a:defRPr/>
              </a:pPr>
              <a:t>‹#›</a:t>
            </a:fld>
            <a:endParaRPr lang="en-US" dirty="0">
              <a:solidFill>
                <a:srgbClr val="4D4D4F"/>
              </a:solidFill>
            </a:endParaRPr>
          </a:p>
        </p:txBody>
      </p:sp>
    </p:spTree>
    <p:extLst>
      <p:ext uri="{BB962C8B-B14F-4D97-AF65-F5344CB8AC3E}">
        <p14:creationId xmlns:p14="http://schemas.microsoft.com/office/powerpoint/2010/main" val="50996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3 Columns">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2725102" cy="4343400"/>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buFont typeface="Arial" panose="020B0604020202020204" pitchFamily="34" charset="0"/>
              <a:buChar char="»"/>
              <a:defRPr sz="1400"/>
            </a:lvl3pPr>
            <a:lvl4pPr marL="690563" indent="-233363">
              <a:defRPr sz="1200"/>
            </a:lvl4pPr>
            <a:lvl5pPr marL="974725" indent="-284163">
              <a:defRPr sz="1200"/>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noProof="0"/>
              <a:pPr>
                <a:defRPr/>
              </a:pPr>
              <a:t>‹#›</a:t>
            </a:fld>
            <a:endParaRPr lang="en-US" noProof="0" dirty="0"/>
          </a:p>
        </p:txBody>
      </p:sp>
      <p:sp>
        <p:nvSpPr>
          <p:cNvPr id="5" name="Content Placeholder 4"/>
          <p:cNvSpPr>
            <a:spLocks noGrp="1"/>
          </p:cNvSpPr>
          <p:nvPr>
            <p:ph sz="quarter" idx="17"/>
          </p:nvPr>
        </p:nvSpPr>
        <p:spPr>
          <a:xfrm>
            <a:off x="3217482" y="1206500"/>
            <a:ext cx="2724912" cy="4338638"/>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defRPr sz="1400"/>
            </a:lvl3pPr>
            <a:lvl4pPr marL="690563" indent="-233363">
              <a:defRPr sz="1200"/>
            </a:lvl4pPr>
            <a:lvl5pPr marL="914400" indent="-223838">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8"/>
          </p:nvPr>
        </p:nvSpPr>
        <p:spPr>
          <a:xfrm>
            <a:off x="6071235" y="1206500"/>
            <a:ext cx="2736850" cy="4357688"/>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defRPr sz="1400"/>
            </a:lvl3pPr>
            <a:lvl4pPr marL="690563" indent="-233363">
              <a:defRPr sz="1200"/>
            </a:lvl4pPr>
            <a:lvl5pPr marL="914400" indent="-223838">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7406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a:solidFill>
                  <a:srgbClr val="38454F"/>
                </a:solidFill>
              </a:rPr>
              <a:pPr/>
              <a:t>‹#›</a:t>
            </a:fld>
            <a:endParaRPr lang="en-US">
              <a:solidFill>
                <a:srgbClr val="38454F"/>
              </a:solidFill>
            </a:endParaRPr>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3935499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with Tab">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a:solidFill>
                  <a:srgbClr val="38454F"/>
                </a:solidFill>
              </a:rPr>
              <a:pPr/>
              <a:t>‹#›</a:t>
            </a:fld>
            <a:endParaRPr lang="en-US">
              <a:solidFill>
                <a:srgbClr val="38454F"/>
              </a:solidFill>
            </a:endParaRPr>
          </a:p>
        </p:txBody>
      </p:sp>
      <p:sp>
        <p:nvSpPr>
          <p:cNvPr id="5" name="Flowchart: Data 4"/>
          <p:cNvSpPr/>
          <p:nvPr userDrawn="1"/>
        </p:nvSpPr>
        <p:spPr bwMode="auto">
          <a:xfrm>
            <a:off x="0" y="0"/>
            <a:ext cx="3558474" cy="461430"/>
          </a:xfrm>
          <a:custGeom>
            <a:avLst/>
            <a:gdLst/>
            <a:ahLst/>
            <a:cxnLst/>
            <a:rect l="l" t="t" r="r" b="b"/>
            <a:pathLst>
              <a:path w="3558474" h="461430">
                <a:moveTo>
                  <a:pt x="0" y="0"/>
                </a:moveTo>
                <a:lnTo>
                  <a:pt x="3558474" y="0"/>
                </a:lnTo>
                <a:lnTo>
                  <a:pt x="3294039" y="461430"/>
                </a:lnTo>
                <a:lnTo>
                  <a:pt x="0" y="461430"/>
                </a:lnTo>
                <a:close/>
              </a:path>
            </a:pathLst>
          </a:custGeom>
          <a:solidFill>
            <a:schemeClr val="accent1"/>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9" name="Text Placeholder 8"/>
          <p:cNvSpPr>
            <a:spLocks noGrp="1"/>
          </p:cNvSpPr>
          <p:nvPr>
            <p:ph type="body" sz="quarter" idx="13"/>
          </p:nvPr>
        </p:nvSpPr>
        <p:spPr>
          <a:xfrm>
            <a:off x="371475" y="0"/>
            <a:ext cx="3008313" cy="461963"/>
          </a:xfrm>
        </p:spPr>
        <p:txBody>
          <a:bodyPr anchor="ctr" anchorCtr="0">
            <a:noAutofit/>
          </a:bodyPr>
          <a:lstStyle>
            <a:lvl1pPr marL="0" indent="0" algn="l">
              <a:buNone/>
              <a:defRPr sz="1400" b="0">
                <a:solidFill>
                  <a:schemeClr val="bg1"/>
                </a:solidFill>
              </a:defRPr>
            </a:lvl1pPr>
            <a:lvl2pPr>
              <a:defRPr sz="1100" b="0">
                <a:solidFill>
                  <a:schemeClr val="bg1"/>
                </a:solidFill>
              </a:defRPr>
            </a:lvl2pPr>
            <a:lvl3pPr>
              <a:defRPr sz="1100" b="0">
                <a:solidFill>
                  <a:schemeClr val="bg1"/>
                </a:solidFill>
              </a:defRPr>
            </a:lvl3pPr>
            <a:lvl4pPr>
              <a:defRPr sz="1100" b="0">
                <a:solidFill>
                  <a:schemeClr val="bg1"/>
                </a:solidFill>
              </a:defRPr>
            </a:lvl4pPr>
            <a:lvl5pPr>
              <a:defRPr sz="1100" b="0">
                <a:solidFill>
                  <a:schemeClr val="bg1"/>
                </a:solidFill>
              </a:defRPr>
            </a:lvl5pPr>
          </a:lstStyle>
          <a:p>
            <a:pPr lvl="0"/>
            <a:r>
              <a:rPr lang="en-US"/>
              <a:t>Click to edit Master text styles</a:t>
            </a:r>
          </a:p>
        </p:txBody>
      </p:sp>
      <p:sp>
        <p:nvSpPr>
          <p:cNvPr id="13" name="Text Placeholder 12"/>
          <p:cNvSpPr>
            <a:spLocks noGrp="1"/>
          </p:cNvSpPr>
          <p:nvPr>
            <p:ph type="body" sz="quarter" idx="14"/>
          </p:nvPr>
        </p:nvSpPr>
        <p:spPr>
          <a:xfrm>
            <a:off x="371475" y="996026"/>
            <a:ext cx="853884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1280221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4038600" cy="4343400"/>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buFont typeface="Arial" panose="020B0604020202020204" pitchFamily="34" charset="0"/>
              <a:buChar char="»"/>
              <a:defRPr sz="1400"/>
            </a:lvl3pPr>
            <a:lvl4pPr marL="690563" indent="-233363">
              <a:defRPr sz="1200"/>
            </a:lvl4pPr>
            <a:lvl5pPr marL="974725" indent="-284163">
              <a:defRPr sz="1200"/>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4586288" y="1206500"/>
            <a:ext cx="4041648" cy="4343400"/>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defRPr sz="1400"/>
            </a:lvl3pPr>
            <a:lvl4pPr marL="690563" indent="-233363">
              <a:defRPr sz="1200"/>
            </a:lvl4pPr>
            <a:lvl5pPr marL="969963" indent="-2794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760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1206500"/>
            <a:ext cx="2725102" cy="4343400"/>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buFont typeface="Arial" panose="020B0604020202020204" pitchFamily="34" charset="0"/>
              <a:buChar char="»"/>
              <a:defRPr sz="1400"/>
            </a:lvl3pPr>
            <a:lvl4pPr marL="690563" indent="-233363">
              <a:defRPr sz="1200"/>
            </a:lvl4pPr>
            <a:lvl5pPr marL="974725" indent="-284163">
              <a:defRPr sz="1200"/>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5" name="Content Placeholder 4"/>
          <p:cNvSpPr>
            <a:spLocks noGrp="1"/>
          </p:cNvSpPr>
          <p:nvPr>
            <p:ph sz="quarter" idx="17"/>
          </p:nvPr>
        </p:nvSpPr>
        <p:spPr>
          <a:xfrm>
            <a:off x="3217482" y="1206500"/>
            <a:ext cx="2724912" cy="4338638"/>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defRPr sz="1400"/>
            </a:lvl3pPr>
            <a:lvl4pPr marL="690563" indent="-233363">
              <a:defRPr sz="1200"/>
            </a:lvl4pPr>
            <a:lvl5pPr marL="914400" indent="-223838">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8"/>
          </p:nvPr>
        </p:nvSpPr>
        <p:spPr>
          <a:xfrm>
            <a:off x="6071235" y="1206500"/>
            <a:ext cx="2736850" cy="4357688"/>
          </a:xfrm>
        </p:spPr>
        <p:txBody>
          <a:bodyPr/>
          <a:lstStyle>
            <a:lvl1pPr marL="0" indent="0">
              <a:spcBef>
                <a:spcPts val="0"/>
              </a:spcBef>
              <a:spcAft>
                <a:spcPts val="600"/>
              </a:spcAft>
              <a:buFont typeface="Arial" panose="020B0604020202020204" pitchFamily="34" charset="0"/>
              <a:buChar char="​"/>
              <a:defRPr sz="1600" b="1"/>
            </a:lvl1pPr>
            <a:lvl2pPr marL="233363" indent="-233363">
              <a:defRPr sz="1400"/>
            </a:lvl2pPr>
            <a:lvl3pPr marL="457200" indent="-223838">
              <a:defRPr sz="1400"/>
            </a:lvl3pPr>
            <a:lvl4pPr marL="690563" indent="-233363">
              <a:defRPr sz="1200"/>
            </a:lvl4pPr>
            <a:lvl5pPr marL="914400" indent="-223838">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886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head with Chart">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a:solidFill>
                  <a:srgbClr val="38454F"/>
                </a:solidFill>
              </a:rPr>
              <a:pPr/>
              <a:t>‹#›</a:t>
            </a:fld>
            <a:endParaRPr lang="en-US">
              <a:solidFill>
                <a:srgbClr val="38454F"/>
              </a:solidFill>
            </a:endParaRPr>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7" name="Chart Placeholder 6"/>
          <p:cNvSpPr>
            <a:spLocks noGrp="1"/>
          </p:cNvSpPr>
          <p:nvPr>
            <p:ph type="chart" sz="quarter" idx="15"/>
          </p:nvPr>
        </p:nvSpPr>
        <p:spPr>
          <a:xfrm>
            <a:off x="806497" y="1711708"/>
            <a:ext cx="7559581" cy="4064060"/>
          </a:xfrm>
        </p:spPr>
        <p:txBody>
          <a:bodyPr/>
          <a:lstStyle>
            <a:lvl1pPr marL="0" indent="0">
              <a:buNone/>
              <a:defRPr/>
            </a:lvl1pPr>
          </a:lstStyle>
          <a:p>
            <a:r>
              <a:rPr lang="en-US"/>
              <a:t>Click icon to add chart</a:t>
            </a:r>
          </a:p>
        </p:txBody>
      </p:sp>
    </p:spTree>
    <p:extLst>
      <p:ext uri="{BB962C8B-B14F-4D97-AF65-F5344CB8AC3E}">
        <p14:creationId xmlns:p14="http://schemas.microsoft.com/office/powerpoint/2010/main" val="4008561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4069080" cy="3805238"/>
          </a:xfrm>
        </p:spPr>
        <p:txBody>
          <a:bodyPr vert="horz" lIns="0" tIns="0" rIns="0" bIns="0" rtlCol="0">
            <a:noAutofit/>
          </a:bodyPr>
          <a:lstStyle>
            <a:lvl1pPr>
              <a:defRPr lang="en-US" sz="1800" b="0" noProof="0" dirty="0" smtClean="0">
                <a:solidFill>
                  <a:schemeClr val="tx1"/>
                </a:solidFill>
              </a:defRPr>
            </a:lvl1pPr>
            <a:lvl2pPr>
              <a:defRPr lang="en-US" sz="1600" noProof="0" dirty="0" smtClean="0"/>
            </a:lvl2pPr>
            <a:lvl3pPr>
              <a:defRPr lang="en-US" sz="1600" noProof="0" dirty="0" smtClean="0"/>
            </a:lvl3pPr>
            <a:lvl4pPr>
              <a:defRPr lang="en-US" sz="1400" noProof="0" dirty="0" smtClean="0"/>
            </a:lvl4pPr>
            <a:lvl5pPr>
              <a:defRPr lang="en-US" sz="14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4700207" y="2330450"/>
            <a:ext cx="4069080" cy="3805238"/>
          </a:xfrm>
        </p:spPr>
        <p:txBody>
          <a:bodyPr vert="horz" lIns="0" tIns="0" rIns="0" bIns="0" rtlCol="0">
            <a:noAutofit/>
          </a:bodyPr>
          <a:lstStyle>
            <a:lvl1pPr>
              <a:defRPr lang="en-US" sz="1800" b="0" dirty="0" smtClean="0">
                <a:solidFill>
                  <a:schemeClr val="tx1"/>
                </a:solidFill>
              </a:defRPr>
            </a:lvl1pPr>
            <a:lvl2pPr>
              <a:defRPr lang="en-US" sz="1600" dirty="0" smtClean="0"/>
            </a:lvl2pPr>
            <a:lvl3pPr>
              <a:defRPr lang="en-US" sz="1600" dirty="0" smtClean="0"/>
            </a:lvl3pPr>
            <a:lvl4pPr>
              <a:defRPr lang="en-US" sz="1400" dirty="0" smtClean="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46051"/>
            <a:ext cx="4069080" cy="556634"/>
          </a:xfrm>
          <a:prstGeom prst="rect">
            <a:avLst/>
          </a:prstGeom>
          <a:solidFill>
            <a:schemeClr val="accent2"/>
          </a:solidFill>
        </p:spPr>
        <p:txBody>
          <a:bodyPr lIns="45720" tIns="45720" rIns="45720" bIns="45720" anchor="ctr"/>
          <a:lstStyle>
            <a:lvl1pPr marL="4763" indent="0" algn="ctr">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4700207" y="1646051"/>
            <a:ext cx="4069080" cy="556634"/>
          </a:xfrm>
          <a:prstGeom prst="rect">
            <a:avLst/>
          </a:prstGeom>
          <a:solidFill>
            <a:schemeClr val="accent2"/>
          </a:solidFill>
        </p:spPr>
        <p:txBody>
          <a:bodyPr lIns="45720" tIns="45720" rIns="45720" bIns="45720" anchor="ctr"/>
          <a:lstStyle>
            <a:lvl1pPr marL="0" indent="0" algn="ctr">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296588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solidFill>
                  <a:schemeClr val="tx1"/>
                </a:solidFill>
              </a:defRPr>
            </a:lvl2pPr>
            <a:lvl3pPr>
              <a:defRPr lang="en-US" sz="1400" noProof="0" dirty="0" smtClean="0">
                <a:solidFill>
                  <a:schemeClr val="tx1"/>
                </a:solidFill>
              </a:defRPr>
            </a:lvl3pPr>
            <a:lvl4pPr>
              <a:defRPr lang="en-US" sz="1200" noProof="0" dirty="0" smtClean="0">
                <a:solidFill>
                  <a:schemeClr val="tx1"/>
                </a:solidFill>
              </a:defRPr>
            </a:lvl4pPr>
            <a:lvl5pPr>
              <a:defRPr lang="en-US" sz="1200" noProof="0" dirty="0" smtClean="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8" name="Text Placeholder 2"/>
          <p:cNvSpPr>
            <a:spLocks noGrp="1"/>
          </p:cNvSpPr>
          <p:nvPr>
            <p:ph type="body" sz="quarter" idx="24"/>
            <p:custDataLst>
              <p:tags r:id="rId1"/>
            </p:custDataLst>
          </p:nvPr>
        </p:nvSpPr>
        <p:spPr>
          <a:xfrm>
            <a:off x="366713"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11"/>
          <p:cNvSpPr>
            <a:spLocks noGrp="1"/>
          </p:cNvSpPr>
          <p:nvPr>
            <p:ph sz="quarter" idx="25"/>
          </p:nvPr>
        </p:nvSpPr>
        <p:spPr>
          <a:xfrm>
            <a:off x="3254777"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solidFill>
                  <a:schemeClr val="tx1"/>
                </a:solidFill>
              </a:defRPr>
            </a:lvl2pPr>
            <a:lvl3pPr>
              <a:defRPr lang="en-US" sz="1400" noProof="0" dirty="0" smtClean="0">
                <a:solidFill>
                  <a:schemeClr val="tx1"/>
                </a:solidFill>
              </a:defRPr>
            </a:lvl3pPr>
            <a:lvl4pPr>
              <a:defRPr lang="en-US" sz="1200" noProof="0" dirty="0" smtClean="0">
                <a:solidFill>
                  <a:schemeClr val="tx1"/>
                </a:solidFill>
              </a:defRPr>
            </a:lvl4pPr>
            <a:lvl5pPr>
              <a:defRPr lang="en-US" sz="1200" noProof="0" dirty="0" smtClean="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2"/>
          <p:cNvSpPr>
            <a:spLocks noGrp="1"/>
          </p:cNvSpPr>
          <p:nvPr>
            <p:ph type="body" sz="quarter" idx="26"/>
            <p:custDataLst>
              <p:tags r:id="rId2"/>
            </p:custDataLst>
          </p:nvPr>
        </p:nvSpPr>
        <p:spPr>
          <a:xfrm>
            <a:off x="3257952"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
        <p:nvSpPr>
          <p:cNvPr id="14" name="Content Placeholder 11"/>
          <p:cNvSpPr>
            <a:spLocks noGrp="1"/>
          </p:cNvSpPr>
          <p:nvPr>
            <p:ph sz="quarter" idx="27"/>
          </p:nvPr>
        </p:nvSpPr>
        <p:spPr>
          <a:xfrm>
            <a:off x="6146016" y="2330450"/>
            <a:ext cx="2623502" cy="3805238"/>
          </a:xfrm>
        </p:spPr>
        <p:txBody>
          <a:bodyPr vert="horz" lIns="0" tIns="0" rIns="0" bIns="0" rtlCol="0">
            <a:noAutofit/>
          </a:bodyPr>
          <a:lstStyle>
            <a:lvl1pPr>
              <a:defRPr lang="en-US" sz="1400" noProof="0" dirty="0" smtClean="0">
                <a:solidFill>
                  <a:schemeClr val="tx1"/>
                </a:solidFill>
              </a:defRPr>
            </a:lvl1pPr>
            <a:lvl2pPr>
              <a:defRPr lang="en-US" sz="1400" noProof="0" dirty="0" smtClean="0">
                <a:solidFill>
                  <a:schemeClr val="tx1"/>
                </a:solidFill>
              </a:defRPr>
            </a:lvl2pPr>
            <a:lvl3pPr>
              <a:defRPr lang="en-US" sz="1400" noProof="0" dirty="0" smtClean="0">
                <a:solidFill>
                  <a:schemeClr val="tx1"/>
                </a:solidFill>
              </a:defRPr>
            </a:lvl3pPr>
            <a:lvl4pPr>
              <a:defRPr lang="en-US" sz="1200" noProof="0" dirty="0" smtClean="0">
                <a:solidFill>
                  <a:schemeClr val="tx1"/>
                </a:solidFill>
              </a:defRPr>
            </a:lvl4pPr>
            <a:lvl5pPr>
              <a:defRPr lang="en-US" sz="1200" noProof="0" dirty="0" smtClean="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2"/>
          <p:cNvSpPr>
            <a:spLocks noGrp="1"/>
          </p:cNvSpPr>
          <p:nvPr>
            <p:ph type="body" sz="quarter" idx="28"/>
            <p:custDataLst>
              <p:tags r:id="rId3"/>
            </p:custDataLst>
          </p:nvPr>
        </p:nvSpPr>
        <p:spPr>
          <a:xfrm>
            <a:off x="6149191" y="1646051"/>
            <a:ext cx="2638229" cy="556634"/>
          </a:xfrm>
          <a:prstGeom prst="rect">
            <a:avLst/>
          </a:prstGeom>
          <a:solidFill>
            <a:schemeClr val="accent2"/>
          </a:solidFill>
        </p:spPr>
        <p:txBody>
          <a:bodyPr lIns="45720" tIns="45720" rIns="45720" bIns="45720" anchor="ctr"/>
          <a:lstStyle>
            <a:lvl1pPr marL="4763" indent="0" algn="ctr">
              <a:buNone/>
              <a:defRPr sz="16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791200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363538"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8" name="Text Placeholder 2"/>
          <p:cNvSpPr>
            <a:spLocks noGrp="1"/>
          </p:cNvSpPr>
          <p:nvPr>
            <p:ph type="body" sz="quarter" idx="24"/>
            <p:custDataLst>
              <p:tags r:id="rId1"/>
            </p:custDataLst>
          </p:nvPr>
        </p:nvSpPr>
        <p:spPr>
          <a:xfrm>
            <a:off x="363538"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11"/>
          <p:cNvSpPr>
            <a:spLocks noGrp="1"/>
          </p:cNvSpPr>
          <p:nvPr>
            <p:ph sz="quarter" idx="25"/>
          </p:nvPr>
        </p:nvSpPr>
        <p:spPr>
          <a:xfrm>
            <a:off x="2524655"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2"/>
          <p:cNvSpPr>
            <a:spLocks noGrp="1"/>
          </p:cNvSpPr>
          <p:nvPr>
            <p:ph type="body" sz="quarter" idx="26"/>
            <p:custDataLst>
              <p:tags r:id="rId2"/>
            </p:custDataLst>
          </p:nvPr>
        </p:nvSpPr>
        <p:spPr>
          <a:xfrm>
            <a:off x="2525713"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4" name="Content Placeholder 11"/>
          <p:cNvSpPr>
            <a:spLocks noGrp="1"/>
          </p:cNvSpPr>
          <p:nvPr>
            <p:ph sz="quarter" idx="27"/>
          </p:nvPr>
        </p:nvSpPr>
        <p:spPr>
          <a:xfrm>
            <a:off x="4685772"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2"/>
          <p:cNvSpPr>
            <a:spLocks noGrp="1"/>
          </p:cNvSpPr>
          <p:nvPr>
            <p:ph type="body" sz="quarter" idx="28"/>
            <p:custDataLst>
              <p:tags r:id="rId3"/>
            </p:custDataLst>
          </p:nvPr>
        </p:nvSpPr>
        <p:spPr>
          <a:xfrm>
            <a:off x="4687888"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
        <p:nvSpPr>
          <p:cNvPr id="16" name="Content Placeholder 11"/>
          <p:cNvSpPr>
            <a:spLocks noGrp="1"/>
          </p:cNvSpPr>
          <p:nvPr>
            <p:ph sz="quarter" idx="29"/>
          </p:nvPr>
        </p:nvSpPr>
        <p:spPr>
          <a:xfrm>
            <a:off x="6846888" y="2330450"/>
            <a:ext cx="1920240" cy="3805238"/>
          </a:xfrm>
        </p:spPr>
        <p:txBody>
          <a:bodyPr vert="horz" lIns="0" tIns="0" rIns="0" bIns="0" rtlCol="0">
            <a:noAutofit/>
          </a:bodyPr>
          <a:lstStyle>
            <a:lvl1pPr>
              <a:defRPr lang="en-US" sz="14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Text Placeholder 2"/>
          <p:cNvSpPr>
            <a:spLocks noGrp="1"/>
          </p:cNvSpPr>
          <p:nvPr>
            <p:ph type="body" sz="quarter" idx="30"/>
            <p:custDataLst>
              <p:tags r:id="rId4"/>
            </p:custDataLst>
          </p:nvPr>
        </p:nvSpPr>
        <p:spPr>
          <a:xfrm>
            <a:off x="6850063" y="1646051"/>
            <a:ext cx="1920240" cy="556634"/>
          </a:xfrm>
          <a:prstGeom prst="rect">
            <a:avLst/>
          </a:prstGeom>
          <a:solidFill>
            <a:schemeClr val="accent2"/>
          </a:solidFill>
        </p:spPr>
        <p:txBody>
          <a:bodyPr lIns="45720" rIns="45720" anchor="ctr"/>
          <a:lstStyle>
            <a:lvl1pPr marL="4763" indent="0" algn="ctr">
              <a:buNone/>
              <a:defRPr sz="16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17846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Horz 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745632"/>
            <a:ext cx="6158232" cy="2011680"/>
          </a:xfrm>
        </p:spPr>
        <p:txBody>
          <a:bodyPr vert="horz" lIns="0" tIns="0" rIns="0" bIns="0" rtlCol="0">
            <a:noAutofit/>
          </a:bodyPr>
          <a:lstStyle>
            <a:lvl1pPr>
              <a:defRPr lang="en-US" b="0" noProof="0" dirty="0" smtClean="0">
                <a:solidFill>
                  <a:schemeClr val="tx1"/>
                </a:solidFill>
              </a:defRPr>
            </a:lvl1pPr>
            <a:lvl2pPr>
              <a:defRPr lang="en-US" noProof="0" dirty="0" smtClean="0"/>
            </a:lvl2pPr>
            <a:lvl3pPr>
              <a:defRPr lang="en-US" noProof="0" dirty="0" smtClean="0"/>
            </a:lvl3pPr>
            <a:lvl4pPr>
              <a:defRPr lang="en-US" noProof="0" dirty="0" smtClean="0"/>
            </a:lvl4pPr>
            <a:lvl5pPr>
              <a:defRPr lang="en-US"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3888152"/>
            <a:ext cx="6158232" cy="2011680"/>
          </a:xfrm>
        </p:spPr>
        <p:txBody>
          <a:bodyPr vert="horz" lIns="0" tIns="0" rIns="0" bIns="0" rtlCol="0">
            <a:noAutofit/>
          </a:bodyPr>
          <a:lstStyle>
            <a:lvl1pPr>
              <a:defRPr lang="en-US" b="0" dirty="0" smtClean="0">
                <a:solidFill>
                  <a:schemeClr val="tx1"/>
                </a:solidFill>
              </a:defRPr>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745632"/>
            <a:ext cx="2102167" cy="2011680"/>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888152"/>
            <a:ext cx="2102167" cy="201168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3810011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orz 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46049"/>
            <a:ext cx="6158232" cy="1371600"/>
          </a:xfrm>
        </p:spPr>
        <p:txBody>
          <a:bodyPr vert="horz" lIns="0" tIns="0" rIns="0" bIns="0" rtlCol="0">
            <a:noAutofit/>
          </a:bodyPr>
          <a:lstStyle>
            <a:lvl1pPr>
              <a:defRPr lang="en-US" sz="1600" b="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3221600"/>
            <a:ext cx="6158232" cy="137160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46049"/>
            <a:ext cx="2102167" cy="1371600"/>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221601"/>
            <a:ext cx="2102167" cy="137160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4797152"/>
            <a:ext cx="6158232" cy="137160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p:cNvSpPr>
            <a:spLocks noGrp="1"/>
          </p:cNvSpPr>
          <p:nvPr>
            <p:ph type="body" sz="quarter" idx="27"/>
            <p:custDataLst>
              <p:tags r:id="rId3"/>
            </p:custDataLst>
          </p:nvPr>
        </p:nvSpPr>
        <p:spPr>
          <a:xfrm>
            <a:off x="366712" y="4797152"/>
            <a:ext cx="2102167" cy="1371600"/>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145233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and Subhead with Chart">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lvl1p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F6851237-8293-48A1-8CC1-CA8E6B2AF051}" type="slidenum">
              <a:rPr lang="en-US" smtClean="0"/>
              <a:t>‹#›</a:t>
            </a:fld>
            <a:endParaRPr lang="en-US"/>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7" name="Chart Placeholder 6"/>
          <p:cNvSpPr>
            <a:spLocks noGrp="1"/>
          </p:cNvSpPr>
          <p:nvPr>
            <p:ph type="chart" sz="quarter" idx="15"/>
          </p:nvPr>
        </p:nvSpPr>
        <p:spPr>
          <a:xfrm>
            <a:off x="806497" y="1711708"/>
            <a:ext cx="7559581" cy="4064060"/>
          </a:xfrm>
        </p:spPr>
        <p:txBody>
          <a:bodyPr/>
          <a:lstStyle>
            <a:lvl1pPr marL="0" indent="0">
              <a:buNone/>
              <a:defRPr/>
            </a:lvl1pPr>
          </a:lstStyle>
          <a:p>
            <a:r>
              <a:rPr lang="en-US"/>
              <a:t>Click icon to add chart</a:t>
            </a:r>
          </a:p>
        </p:txBody>
      </p:sp>
    </p:spTree>
    <p:extLst>
      <p:ext uri="{BB962C8B-B14F-4D97-AF65-F5344CB8AC3E}">
        <p14:creationId xmlns:p14="http://schemas.microsoft.com/office/powerpoint/2010/main" val="3463842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orz 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528360"/>
            <a:ext cx="6158232" cy="1046351"/>
          </a:xfrm>
        </p:spPr>
        <p:txBody>
          <a:bodyPr vert="horz" lIns="0" tIns="0" rIns="0" bIns="0" rtlCol="0">
            <a:noAutofit/>
          </a:bodyPr>
          <a:lstStyle>
            <a:lvl1pPr>
              <a:defRPr lang="en-US" sz="1600" b="0" noProof="0" dirty="0" smtClean="0">
                <a:solidFill>
                  <a:schemeClr val="tx1"/>
                </a:solidFill>
              </a:defRPr>
            </a:lvl1pPr>
            <a:lvl2pPr>
              <a:defRPr lang="en-US" sz="1400" noProof="0" dirty="0" smtClean="0"/>
            </a:lvl2pPr>
            <a:lvl3pPr>
              <a:defRPr lang="en-US" sz="1400" noProof="0" dirty="0" smtClean="0"/>
            </a:lvl3pPr>
          </a:lstStyle>
          <a:p>
            <a:pPr lvl="0"/>
            <a:r>
              <a:rPr lang="en-US" noProof="0"/>
              <a:t>Click to edit Master text styles</a:t>
            </a:r>
          </a:p>
          <a:p>
            <a:pPr lvl="1"/>
            <a:r>
              <a:rPr lang="en-US" noProof="0"/>
              <a:t>Second level</a:t>
            </a:r>
          </a:p>
          <a:p>
            <a:pPr lvl="2"/>
            <a:r>
              <a:rPr lang="en-US" noProof="0"/>
              <a:t>Third level</a:t>
            </a:r>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2708138"/>
            <a:ext cx="6158232" cy="1042416"/>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8" name="Text Placeholder 2"/>
          <p:cNvSpPr>
            <a:spLocks noGrp="1"/>
          </p:cNvSpPr>
          <p:nvPr>
            <p:ph type="body" sz="quarter" idx="24"/>
            <p:custDataLst>
              <p:tags r:id="rId1"/>
            </p:custDataLst>
          </p:nvPr>
        </p:nvSpPr>
        <p:spPr>
          <a:xfrm>
            <a:off x="366712" y="1528360"/>
            <a:ext cx="2102167" cy="1046351"/>
          </a:xfrm>
          <a:prstGeom prst="rect">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2708138"/>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3883981"/>
            <a:ext cx="6158232" cy="1042416"/>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sz="quarter" idx="27"/>
            <p:custDataLst>
              <p:tags r:id="rId3"/>
            </p:custDataLst>
          </p:nvPr>
        </p:nvSpPr>
        <p:spPr>
          <a:xfrm>
            <a:off x="366712" y="3883981"/>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4" name="Content Placeholder 6"/>
          <p:cNvSpPr>
            <a:spLocks noGrp="1"/>
          </p:cNvSpPr>
          <p:nvPr>
            <p:ph sz="quarter" idx="28"/>
          </p:nvPr>
        </p:nvSpPr>
        <p:spPr>
          <a:xfrm>
            <a:off x="2622231" y="5059823"/>
            <a:ext cx="6158232" cy="1042416"/>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5" name="Text Placeholder 2"/>
          <p:cNvSpPr>
            <a:spLocks noGrp="1"/>
          </p:cNvSpPr>
          <p:nvPr>
            <p:ph type="body" sz="quarter" idx="29"/>
            <p:custDataLst>
              <p:tags r:id="rId4"/>
            </p:custDataLst>
          </p:nvPr>
        </p:nvSpPr>
        <p:spPr>
          <a:xfrm>
            <a:off x="366712" y="5059823"/>
            <a:ext cx="2102167" cy="1042416"/>
          </a:xfrm>
          <a:prstGeom prst="rect">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430277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rrow Split Content with Headers x 2">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893767"/>
            <a:ext cx="6158232" cy="1737360"/>
          </a:xfrm>
        </p:spPr>
        <p:txBody>
          <a:bodyPr vert="horz" lIns="0" tIns="0" rIns="0" bIns="0" rtlCol="0">
            <a:noAutofit/>
          </a:bodyPr>
          <a:lstStyle>
            <a:lvl1pPr>
              <a:defRPr lang="en-US" sz="160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4035305"/>
            <a:ext cx="6158232" cy="1737360"/>
          </a:xfrm>
        </p:spPr>
        <p:txBody>
          <a:bodyPr vert="horz" lIns="0" tIns="0" rIns="0" bIns="0" rtlCol="0">
            <a:noAutofit/>
          </a:bodyPr>
          <a:lstStyle>
            <a:lvl1pPr>
              <a:defRPr lang="en-US" sz="160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893767"/>
            <a:ext cx="2102167" cy="173736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4035305"/>
            <a:ext cx="2102167" cy="173736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Tree>
    <p:extLst>
      <p:ext uri="{BB962C8B-B14F-4D97-AF65-F5344CB8AC3E}">
        <p14:creationId xmlns:p14="http://schemas.microsoft.com/office/powerpoint/2010/main" val="813592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rrow Split Content with Headers x 3">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53961"/>
            <a:ext cx="6158232" cy="1234440"/>
          </a:xfrm>
        </p:spPr>
        <p:txBody>
          <a:bodyPr vert="horz" lIns="0" tIns="0" rIns="0" bIns="0" rtlCol="0">
            <a:noAutofit/>
          </a:bodyPr>
          <a:lstStyle>
            <a:lvl1pPr>
              <a:defRPr lang="en-US" sz="1600" noProof="0" dirty="0" smtClean="0">
                <a:solidFill>
                  <a:schemeClr val="tx1"/>
                </a:solidFill>
              </a:defRPr>
            </a:lvl1pPr>
            <a:lvl2pPr>
              <a:defRPr lang="en-US" sz="1400" noProof="0" dirty="0" smtClean="0"/>
            </a:lvl2pPr>
            <a:lvl3pPr>
              <a:defRPr lang="en-US" sz="1400" noProof="0" dirty="0" smtClean="0"/>
            </a:lvl3pPr>
            <a:lvl4pPr>
              <a:defRPr lang="en-US" sz="1200" noProof="0" dirty="0" smtClean="0"/>
            </a:lvl4pPr>
            <a:lvl5pPr>
              <a:defRPr lang="en-US" sz="1200" noProof="0" dirty="0" smtClean="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3202716"/>
            <a:ext cx="6158232" cy="1234440"/>
          </a:xfrm>
        </p:spPr>
        <p:txBody>
          <a:bodyPr vert="horz" lIns="0" tIns="0" rIns="0" bIns="0" rtlCol="0">
            <a:noAutofit/>
          </a:bodyPr>
          <a:lstStyle>
            <a:lvl1pPr>
              <a:defRPr lang="en-US" sz="160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24"/>
            <p:custDataLst>
              <p:tags r:id="rId1"/>
            </p:custDataLst>
          </p:nvPr>
        </p:nvSpPr>
        <p:spPr>
          <a:xfrm>
            <a:off x="366712" y="1653961"/>
            <a:ext cx="2102167" cy="123444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3202716"/>
            <a:ext cx="2102167" cy="123444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4751471"/>
            <a:ext cx="6158232" cy="1234440"/>
          </a:xfrm>
        </p:spPr>
        <p:txBody>
          <a:bodyPr vert="horz" lIns="0" tIns="0" rIns="0" bIns="0" rtlCol="0">
            <a:noAutofit/>
          </a:bodyPr>
          <a:lstStyle>
            <a:lvl1pPr>
              <a:defRPr lang="en-US" sz="1600" dirty="0" smtClean="0">
                <a:solidFill>
                  <a:schemeClr val="tx1"/>
                </a:solidFill>
              </a:defRPr>
            </a:lvl1pPr>
            <a:lvl2pPr>
              <a:defRPr lang="en-US" sz="1400" dirty="0" smtClean="0"/>
            </a:lvl2pPr>
            <a:lvl3pPr>
              <a:defRPr lang="en-US" sz="1400" dirty="0" smtClean="0"/>
            </a:lvl3pPr>
            <a:lvl4pPr>
              <a:defRPr lang="en-US" sz="1200" dirty="0" smtClean="0"/>
            </a:lvl4pPr>
            <a:lvl5pP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p:cNvSpPr>
            <a:spLocks noGrp="1"/>
          </p:cNvSpPr>
          <p:nvPr>
            <p:ph type="body" sz="quarter" idx="27"/>
            <p:custDataLst>
              <p:tags r:id="rId3"/>
            </p:custDataLst>
          </p:nvPr>
        </p:nvSpPr>
        <p:spPr>
          <a:xfrm>
            <a:off x="366712" y="4751471"/>
            <a:ext cx="2102167" cy="123444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11885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rrow Split Content with Headers x 4">
    <p:spTree>
      <p:nvGrpSpPr>
        <p:cNvPr id="1" name=""/>
        <p:cNvGrpSpPr/>
        <p:nvPr/>
      </p:nvGrpSpPr>
      <p:grpSpPr>
        <a:xfrm>
          <a:off x="0" y="0"/>
          <a:ext cx="0" cy="0"/>
          <a:chOff x="0" y="0"/>
          <a:chExt cx="0" cy="0"/>
        </a:xfrm>
      </p:grpSpPr>
      <p:sp>
        <p:nvSpPr>
          <p:cNvPr id="2" name="Title 1"/>
          <p:cNvSpPr>
            <a:spLocks noGrp="1"/>
          </p:cNvSpPr>
          <p:nvPr>
            <p:ph type="title"/>
          </p:nvPr>
        </p:nvSpPr>
        <p:spPr>
          <a:xfrm>
            <a:off x="363538" y="629512"/>
            <a:ext cx="8526244" cy="347472"/>
          </a:xfrm>
        </p:spPr>
        <p:txBody>
          <a:bodyPr/>
          <a:lstStyle>
            <a:lvl1pPr>
              <a:defRPr baseline="0"/>
            </a:lvl1pPr>
          </a:lstStyle>
          <a:p>
            <a:r>
              <a:rPr lang="en-US" noProof="0"/>
              <a:t>Click to edit Master title style</a:t>
            </a:r>
            <a:endParaRPr lang="en-US" noProof="0" dirty="0"/>
          </a:p>
        </p:txBody>
      </p:sp>
      <p:sp>
        <p:nvSpPr>
          <p:cNvPr id="12" name="Content Placeholder 11"/>
          <p:cNvSpPr>
            <a:spLocks noGrp="1"/>
          </p:cNvSpPr>
          <p:nvPr>
            <p:ph sz="quarter" idx="12"/>
          </p:nvPr>
        </p:nvSpPr>
        <p:spPr>
          <a:xfrm>
            <a:off x="2621280" y="1608696"/>
            <a:ext cx="6158232" cy="960120"/>
          </a:xfrm>
        </p:spPr>
        <p:txBody>
          <a:bodyPr vert="horz" lIns="0" tIns="0" rIns="0" bIns="0" rtlCol="0">
            <a:noAutofit/>
          </a:bodyPr>
          <a:lstStyle>
            <a:lvl1pPr>
              <a:defRPr lang="en-US" sz="1600" b="0" noProof="0" dirty="0" smtClean="0">
                <a:solidFill>
                  <a:schemeClr val="tx1"/>
                </a:solidFill>
              </a:defRPr>
            </a:lvl1pPr>
            <a:lvl2pPr>
              <a:defRPr lang="en-US" sz="1400" noProof="0" dirty="0" smtClean="0"/>
            </a:lvl2pPr>
            <a:lvl3pPr>
              <a:defRPr lang="en-US" sz="1400" noProof="0" dirty="0" smtClean="0"/>
            </a:lvl3pPr>
          </a:lstStyle>
          <a:p>
            <a:pPr lvl="0"/>
            <a:r>
              <a:rPr lang="en-US" noProof="0"/>
              <a:t>Click to edit Master text styles</a:t>
            </a:r>
          </a:p>
          <a:p>
            <a:pPr lvl="1"/>
            <a:r>
              <a:rPr lang="en-US" noProof="0"/>
              <a:t>Second level</a:t>
            </a:r>
          </a:p>
          <a:p>
            <a:pPr lvl="2"/>
            <a:r>
              <a:rPr lang="en-US" noProof="0"/>
              <a:t>Third level</a:t>
            </a:r>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
        <p:nvSpPr>
          <p:cNvPr id="7" name="Content Placeholder 6"/>
          <p:cNvSpPr>
            <a:spLocks noGrp="1"/>
          </p:cNvSpPr>
          <p:nvPr>
            <p:ph sz="quarter" idx="16"/>
          </p:nvPr>
        </p:nvSpPr>
        <p:spPr>
          <a:xfrm>
            <a:off x="2622231" y="2761213"/>
            <a:ext cx="6158232" cy="96012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8" name="Text Placeholder 2"/>
          <p:cNvSpPr>
            <a:spLocks noGrp="1"/>
          </p:cNvSpPr>
          <p:nvPr>
            <p:ph type="body" sz="quarter" idx="24"/>
            <p:custDataLst>
              <p:tags r:id="rId1"/>
            </p:custDataLst>
          </p:nvPr>
        </p:nvSpPr>
        <p:spPr>
          <a:xfrm>
            <a:off x="366712" y="1608696"/>
            <a:ext cx="2102167" cy="960120"/>
          </a:xfrm>
          <a:prstGeom prst="homePlate">
            <a:avLst>
              <a:gd name="adj" fmla="val 24747"/>
            </a:avLst>
          </a:prstGeom>
          <a:solidFill>
            <a:schemeClr val="accent2"/>
          </a:solidFill>
        </p:spPr>
        <p:txBody>
          <a:bodyPr lIns="91440" tIns="45720" rIns="91440" bIns="45720" anchor="ctr"/>
          <a:lstStyle>
            <a:lvl1pPr marL="4763" indent="0" algn="l">
              <a:buNone/>
              <a:defRPr sz="1800" b="0" baseline="0">
                <a:solidFill>
                  <a:schemeClr val="bg1"/>
                </a:solidFill>
              </a:defRPr>
            </a:lvl1pPr>
          </a:lstStyle>
          <a:p>
            <a:pPr lvl="0"/>
            <a:r>
              <a:rPr lang="en-US"/>
              <a:t>Click to edit Master text styles</a:t>
            </a:r>
          </a:p>
        </p:txBody>
      </p:sp>
      <p:sp>
        <p:nvSpPr>
          <p:cNvPr id="9" name="Text Placeholder 2"/>
          <p:cNvSpPr>
            <a:spLocks noGrp="1"/>
          </p:cNvSpPr>
          <p:nvPr>
            <p:ph type="body" sz="quarter" idx="25"/>
            <p:custDataLst>
              <p:tags r:id="rId2"/>
            </p:custDataLst>
          </p:nvPr>
        </p:nvSpPr>
        <p:spPr>
          <a:xfrm>
            <a:off x="366712" y="2761213"/>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0" name="Text Placeholder 12"/>
          <p:cNvSpPr>
            <a:spLocks noGrp="1"/>
          </p:cNvSpPr>
          <p:nvPr>
            <p:ph type="body" sz="quarter" idx="14"/>
          </p:nvPr>
        </p:nvSpPr>
        <p:spPr>
          <a:xfrm>
            <a:off x="371475" y="996026"/>
            <a:ext cx="8528685" cy="276999"/>
          </a:xfrm>
        </p:spPr>
        <p:txBody>
          <a:bodyPr wrap="square">
            <a:spAutoFit/>
          </a:bodyPr>
          <a:lstStyle>
            <a:lvl1pPr marL="0" indent="0">
              <a:buNone/>
              <a:defRPr b="0"/>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11" name="Content Placeholder 6"/>
          <p:cNvSpPr>
            <a:spLocks noGrp="1"/>
          </p:cNvSpPr>
          <p:nvPr>
            <p:ph sz="quarter" idx="26"/>
          </p:nvPr>
        </p:nvSpPr>
        <p:spPr>
          <a:xfrm>
            <a:off x="2622231" y="3913730"/>
            <a:ext cx="6158232" cy="96012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sz="quarter" idx="27"/>
            <p:custDataLst>
              <p:tags r:id="rId3"/>
            </p:custDataLst>
          </p:nvPr>
        </p:nvSpPr>
        <p:spPr>
          <a:xfrm>
            <a:off x="366712" y="3913730"/>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
        <p:nvSpPr>
          <p:cNvPr id="14" name="Content Placeholder 6"/>
          <p:cNvSpPr>
            <a:spLocks noGrp="1"/>
          </p:cNvSpPr>
          <p:nvPr>
            <p:ph sz="quarter" idx="28"/>
          </p:nvPr>
        </p:nvSpPr>
        <p:spPr>
          <a:xfrm>
            <a:off x="2622231" y="5066246"/>
            <a:ext cx="6158232" cy="960120"/>
          </a:xfrm>
        </p:spPr>
        <p:txBody>
          <a:bodyPr vert="horz" lIns="0" tIns="0" rIns="0" bIns="0" rtlCol="0">
            <a:noAutofit/>
          </a:bodyPr>
          <a:lstStyle>
            <a:lvl1pPr>
              <a:defRPr lang="en-US" sz="1600" b="0" dirty="0" smtClean="0">
                <a:solidFill>
                  <a:schemeClr val="tx1"/>
                </a:solidFill>
              </a:defRPr>
            </a:lvl1pPr>
            <a:lvl2pPr>
              <a:defRPr lang="en-US" sz="1400" dirty="0" smtClean="0"/>
            </a:lvl2pPr>
            <a:lvl3pPr>
              <a:defRPr lang="en-US" sz="1400" dirty="0" smtClean="0"/>
            </a:lvl3pPr>
          </a:lstStyle>
          <a:p>
            <a:pPr lvl="0"/>
            <a:r>
              <a:rPr lang="en-US"/>
              <a:t>Click to edit Master text styles</a:t>
            </a:r>
          </a:p>
          <a:p>
            <a:pPr lvl="1"/>
            <a:r>
              <a:rPr lang="en-US"/>
              <a:t>Second level</a:t>
            </a:r>
          </a:p>
          <a:p>
            <a:pPr lvl="2"/>
            <a:r>
              <a:rPr lang="en-US"/>
              <a:t>Third level</a:t>
            </a:r>
          </a:p>
        </p:txBody>
      </p:sp>
      <p:sp>
        <p:nvSpPr>
          <p:cNvPr id="15" name="Text Placeholder 2"/>
          <p:cNvSpPr>
            <a:spLocks noGrp="1"/>
          </p:cNvSpPr>
          <p:nvPr>
            <p:ph type="body" sz="quarter" idx="29"/>
            <p:custDataLst>
              <p:tags r:id="rId4"/>
            </p:custDataLst>
          </p:nvPr>
        </p:nvSpPr>
        <p:spPr>
          <a:xfrm>
            <a:off x="366712" y="5066246"/>
            <a:ext cx="2102167" cy="960120"/>
          </a:xfrm>
          <a:prstGeom prst="homePlate">
            <a:avLst>
              <a:gd name="adj" fmla="val 25253"/>
            </a:avLst>
          </a:prstGeom>
          <a:solidFill>
            <a:schemeClr val="accent2"/>
          </a:solidFill>
        </p:spPr>
        <p:txBody>
          <a:bodyPr lIns="91440" tIns="45720" rIns="91440" bIns="45720" anchor="ctr"/>
          <a:lstStyle>
            <a:lvl1pPr marL="0" indent="0" algn="l">
              <a:buNone/>
              <a:defRPr sz="1800" b="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719174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12" name="Freeform 6"/>
          <p:cNvSpPr>
            <a:spLocks/>
          </p:cNvSpPr>
          <p:nvPr userDrawn="1"/>
        </p:nvSpPr>
        <p:spPr bwMode="auto">
          <a:xfrm>
            <a:off x="3425840" y="0"/>
            <a:ext cx="5733420" cy="6858000"/>
          </a:xfrm>
          <a:custGeom>
            <a:avLst/>
            <a:gdLst/>
            <a:ahLst/>
            <a:cxnLst/>
            <a:rect l="l" t="t" r="r" b="b"/>
            <a:pathLst>
              <a:path w="5733420" h="6858000">
                <a:moveTo>
                  <a:pt x="0" y="0"/>
                </a:moveTo>
                <a:lnTo>
                  <a:pt x="634" y="0"/>
                </a:lnTo>
                <a:lnTo>
                  <a:pt x="5733420" y="0"/>
                </a:lnTo>
                <a:lnTo>
                  <a:pt x="5729588" y="6858000"/>
                </a:lnTo>
                <a:lnTo>
                  <a:pt x="3963034" y="685800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904100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19" name="Isosceles Triangle 18"/>
          <p:cNvSpPr/>
          <p:nvPr userDrawn="1"/>
        </p:nvSpPr>
        <p:spPr bwMode="auto">
          <a:xfrm>
            <a:off x="7496175" y="3993931"/>
            <a:ext cx="1661161" cy="2864069"/>
          </a:xfrm>
          <a:custGeom>
            <a:avLst/>
            <a:gdLst/>
            <a:ahLst/>
            <a:cxnLst/>
            <a:rect l="l" t="t" r="r" b="b"/>
            <a:pathLst>
              <a:path w="1661161" h="2864069">
                <a:moveTo>
                  <a:pt x="1661161" y="0"/>
                </a:moveTo>
                <a:lnTo>
                  <a:pt x="1661161" y="2864069"/>
                </a:lnTo>
                <a:lnTo>
                  <a:pt x="0" y="2864069"/>
                </a:lnTo>
                <a:close/>
              </a:path>
            </a:pathLst>
          </a:custGeom>
          <a:solidFill>
            <a:schemeClr val="accent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1" name="Freeform 6"/>
          <p:cNvSpPr>
            <a:spLocks/>
          </p:cNvSpPr>
          <p:nvPr userDrawn="1"/>
        </p:nvSpPr>
        <p:spPr bwMode="auto">
          <a:xfrm>
            <a:off x="4879047" y="0"/>
            <a:ext cx="4280213" cy="5697264"/>
          </a:xfrm>
          <a:custGeom>
            <a:avLst/>
            <a:gdLst/>
            <a:ahLst/>
            <a:cxnLst/>
            <a:rect l="l" t="t" r="r" b="b"/>
            <a:pathLst>
              <a:path w="4280213" h="5697264">
                <a:moveTo>
                  <a:pt x="0" y="0"/>
                </a:moveTo>
                <a:lnTo>
                  <a:pt x="634" y="0"/>
                </a:lnTo>
                <a:lnTo>
                  <a:pt x="4280213" y="0"/>
                </a:lnTo>
                <a:lnTo>
                  <a:pt x="4280213" y="3993931"/>
                </a:lnTo>
                <a:lnTo>
                  <a:pt x="3292279" y="569726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4" name="Isosceles Triangle 13"/>
          <p:cNvSpPr/>
          <p:nvPr userDrawn="1"/>
        </p:nvSpPr>
        <p:spPr bwMode="auto">
          <a:xfrm>
            <a:off x="7496175" y="5696782"/>
            <a:ext cx="1347013" cy="1161218"/>
          </a:xfrm>
          <a:prstGeom prst="triangle">
            <a:avLst/>
          </a:pr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pSp>
        <p:nvGrpSpPr>
          <p:cNvPr id="10" name="Group 9"/>
          <p:cNvGrpSpPr>
            <a:grpSpLocks noChangeAspect="1"/>
          </p:cNvGrpSpPr>
          <p:nvPr userDrawn="1"/>
        </p:nvGrpSpPr>
        <p:grpSpPr>
          <a:xfrm>
            <a:off x="374651" y="6431112"/>
            <a:ext cx="1673352" cy="328463"/>
            <a:chOff x="374651" y="6029325"/>
            <a:chExt cx="2054224" cy="403225"/>
          </a:xfrm>
        </p:grpSpPr>
        <p:sp>
          <p:nvSpPr>
            <p:cNvPr id="13"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5"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6" name="Freeform 15"/>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7" name="Freeform 16"/>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8" name="Freeform 17"/>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0" name="Freeform 19"/>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2" name="Freeform 21"/>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3" name="Freeform 22"/>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4"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5"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6"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7"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8"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9"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0"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1"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2"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428393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Section Header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193055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21" name="Freeform 6"/>
          <p:cNvSpPr>
            <a:spLocks/>
          </p:cNvSpPr>
          <p:nvPr userDrawn="1"/>
        </p:nvSpPr>
        <p:spPr bwMode="auto">
          <a:xfrm>
            <a:off x="5506102" y="0"/>
            <a:ext cx="3648058" cy="5697264"/>
          </a:xfrm>
          <a:custGeom>
            <a:avLst/>
            <a:gdLst/>
            <a:ahLst/>
            <a:cxnLst/>
            <a:rect l="l" t="t" r="r" b="b"/>
            <a:pathLst>
              <a:path w="3648058" h="5697264">
                <a:moveTo>
                  <a:pt x="0" y="0"/>
                </a:moveTo>
                <a:lnTo>
                  <a:pt x="634" y="0"/>
                </a:lnTo>
                <a:lnTo>
                  <a:pt x="3648058" y="0"/>
                </a:lnTo>
                <a:lnTo>
                  <a:pt x="3648058" y="5083853"/>
                </a:lnTo>
                <a:lnTo>
                  <a:pt x="3292279" y="569726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9" name="Isosceles Triangle 18"/>
          <p:cNvSpPr/>
          <p:nvPr userDrawn="1"/>
        </p:nvSpPr>
        <p:spPr bwMode="auto">
          <a:xfrm>
            <a:off x="7315116" y="3687235"/>
            <a:ext cx="1839045" cy="3170765"/>
          </a:xfrm>
          <a:custGeom>
            <a:avLst/>
            <a:gdLst/>
            <a:ahLst/>
            <a:cxnLst/>
            <a:rect l="l" t="t" r="r" b="b"/>
            <a:pathLst>
              <a:path w="1839045" h="3170765">
                <a:moveTo>
                  <a:pt x="1839045" y="0"/>
                </a:moveTo>
                <a:lnTo>
                  <a:pt x="1839045" y="3170765"/>
                </a:lnTo>
                <a:lnTo>
                  <a:pt x="0" y="3170765"/>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14" name="Isosceles Triangle 13"/>
          <p:cNvSpPr/>
          <p:nvPr userDrawn="1"/>
        </p:nvSpPr>
        <p:spPr bwMode="auto">
          <a:xfrm>
            <a:off x="7315115" y="4997292"/>
            <a:ext cx="1839045" cy="1860708"/>
          </a:xfrm>
          <a:custGeom>
            <a:avLst/>
            <a:gdLst/>
            <a:ahLst/>
            <a:cxnLst/>
            <a:rect l="l" t="t" r="r" b="b"/>
            <a:pathLst>
              <a:path w="1839045" h="1860708">
                <a:moveTo>
                  <a:pt x="1079211" y="0"/>
                </a:moveTo>
                <a:lnTo>
                  <a:pt x="1839045" y="1310060"/>
                </a:lnTo>
                <a:lnTo>
                  <a:pt x="1839045" y="1860708"/>
                </a:lnTo>
                <a:lnTo>
                  <a:pt x="0" y="1860708"/>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pSp>
        <p:nvGrpSpPr>
          <p:cNvPr id="9" name="Group 8"/>
          <p:cNvGrpSpPr>
            <a:grpSpLocks noChangeAspect="1"/>
          </p:cNvGrpSpPr>
          <p:nvPr userDrawn="1"/>
        </p:nvGrpSpPr>
        <p:grpSpPr>
          <a:xfrm>
            <a:off x="374651" y="6431112"/>
            <a:ext cx="1673352" cy="328463"/>
            <a:chOff x="374651" y="6029325"/>
            <a:chExt cx="2054224" cy="403225"/>
          </a:xfrm>
        </p:grpSpPr>
        <p:sp>
          <p:nvSpPr>
            <p:cNvPr id="10"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2"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3" name="Freeform 12"/>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5" name="Freeform 14"/>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6" name="Freeform 15"/>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7" name="Freeform 16"/>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8" name="Freeform 17"/>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0" name="Freeform 19"/>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2"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3"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4"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5"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6"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7"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8"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29"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0"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3850431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ection Header 3">
    <p:spTree>
      <p:nvGrpSpPr>
        <p:cNvPr id="1" name=""/>
        <p:cNvGrpSpPr/>
        <p:nvPr/>
      </p:nvGrpSpPr>
      <p:grpSpPr>
        <a:xfrm>
          <a:off x="0" y="0"/>
          <a:ext cx="0" cy="0"/>
          <a:chOff x="0" y="0"/>
          <a:chExt cx="0" cy="0"/>
        </a:xfrm>
      </p:grpSpPr>
      <p:sp>
        <p:nvSpPr>
          <p:cNvPr id="2" name="Title 1"/>
          <p:cNvSpPr>
            <a:spLocks noGrp="1"/>
          </p:cNvSpPr>
          <p:nvPr>
            <p:ph type="ctrTitle"/>
          </p:nvPr>
        </p:nvSpPr>
        <p:spPr>
          <a:xfrm>
            <a:off x="367506" y="2220544"/>
            <a:ext cx="5082510" cy="984885"/>
          </a:xfrm>
        </p:spPr>
        <p:txBody>
          <a:bodyPr anchor="b"/>
          <a:lstStyle>
            <a:lvl1pPr>
              <a:defRPr sz="4000" b="0" baseline="0">
                <a:solidFill>
                  <a:schemeClr val="tx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3223749"/>
            <a:ext cx="5052186" cy="488157"/>
          </a:xfrm>
        </p:spPr>
        <p:txBody>
          <a:bodyPr anchor="t">
            <a:normAutofit/>
          </a:bodyPr>
          <a:lstStyle>
            <a:lvl1pPr marL="0" indent="0" algn="l">
              <a:buNone/>
              <a:defRPr sz="2400" b="0" baseline="0">
                <a:solidFill>
                  <a:schemeClr val="accent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4" name="Rectangle 3"/>
          <p:cNvSpPr/>
          <p:nvPr userDrawn="1"/>
        </p:nvSpPr>
        <p:spPr bwMode="auto">
          <a:xfrm>
            <a:off x="0" y="3942080"/>
            <a:ext cx="8034337" cy="2915920"/>
          </a:xfrm>
          <a:custGeom>
            <a:avLst/>
            <a:gdLst>
              <a:gd name="connsiteX0" fmla="*/ 0 w 9142413"/>
              <a:gd name="connsiteY0" fmla="*/ 0 h 2915920"/>
              <a:gd name="connsiteX1" fmla="*/ 9142413 w 9142413"/>
              <a:gd name="connsiteY1" fmla="*/ 0 h 2915920"/>
              <a:gd name="connsiteX2" fmla="*/ 9142413 w 9142413"/>
              <a:gd name="connsiteY2" fmla="*/ 2915920 h 2915920"/>
              <a:gd name="connsiteX3" fmla="*/ 0 w 9142413"/>
              <a:gd name="connsiteY3" fmla="*/ 2915920 h 2915920"/>
              <a:gd name="connsiteX4" fmla="*/ 0 w 9142413"/>
              <a:gd name="connsiteY4" fmla="*/ 0 h 2915920"/>
              <a:gd name="connsiteX0" fmla="*/ 0 w 9142413"/>
              <a:gd name="connsiteY0" fmla="*/ 0 h 2915920"/>
              <a:gd name="connsiteX1" fmla="*/ 9142413 w 9142413"/>
              <a:gd name="connsiteY1" fmla="*/ 2915920 h 2915920"/>
              <a:gd name="connsiteX2" fmla="*/ 0 w 9142413"/>
              <a:gd name="connsiteY2" fmla="*/ 2915920 h 2915920"/>
              <a:gd name="connsiteX3" fmla="*/ 0 w 9142413"/>
              <a:gd name="connsiteY3" fmla="*/ 0 h 2915920"/>
            </a:gdLst>
            <a:ahLst/>
            <a:cxnLst>
              <a:cxn ang="0">
                <a:pos x="connsiteX0" y="connsiteY0"/>
              </a:cxn>
              <a:cxn ang="0">
                <a:pos x="connsiteX1" y="connsiteY1"/>
              </a:cxn>
              <a:cxn ang="0">
                <a:pos x="connsiteX2" y="connsiteY2"/>
              </a:cxn>
              <a:cxn ang="0">
                <a:pos x="connsiteX3" y="connsiteY3"/>
              </a:cxn>
            </a:cxnLst>
            <a:rect l="l" t="t" r="r" b="b"/>
            <a:pathLst>
              <a:path w="9142413" h="2915920">
                <a:moveTo>
                  <a:pt x="0" y="0"/>
                </a:moveTo>
                <a:lnTo>
                  <a:pt x="9142413" y="2915920"/>
                </a:lnTo>
                <a:lnTo>
                  <a:pt x="0" y="2915920"/>
                </a:lnTo>
                <a:lnTo>
                  <a:pt x="0" y="0"/>
                </a:lnTo>
                <a:close/>
              </a:path>
            </a:pathLst>
          </a:cu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324643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tangle 3"/>
          <p:cNvSpPr/>
          <p:nvPr userDrawn="1"/>
        </p:nvSpPr>
        <p:spPr bwMode="auto">
          <a:xfrm flipH="1">
            <a:off x="6443185" y="4140200"/>
            <a:ext cx="2706767" cy="2717800"/>
          </a:xfrm>
          <a:custGeom>
            <a:avLst/>
            <a:gdLst/>
            <a:ahLst/>
            <a:cxnLst/>
            <a:rect l="l" t="t" r="r" b="b"/>
            <a:pathLst>
              <a:path w="2706767" h="2717800">
                <a:moveTo>
                  <a:pt x="0" y="0"/>
                </a:moveTo>
                <a:lnTo>
                  <a:pt x="0" y="2717800"/>
                </a:lnTo>
                <a:lnTo>
                  <a:pt x="2706767" y="2717800"/>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pic>
        <p:nvPicPr>
          <p:cNvPr id="17" name="Picture 1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
        <p:nvSpPr>
          <p:cNvPr id="18" name="Rectangle 3"/>
          <p:cNvSpPr/>
          <p:nvPr userDrawn="1"/>
        </p:nvSpPr>
        <p:spPr bwMode="auto">
          <a:xfrm>
            <a:off x="6443185" y="6433837"/>
            <a:ext cx="1591152" cy="424163"/>
          </a:xfrm>
          <a:custGeom>
            <a:avLst/>
            <a:gdLst/>
            <a:ahLst/>
            <a:cxnLst/>
            <a:rect l="l" t="t" r="r" b="b"/>
            <a:pathLst>
              <a:path w="1591152" h="424163">
                <a:moveTo>
                  <a:pt x="422441" y="0"/>
                </a:moveTo>
                <a:lnTo>
                  <a:pt x="1591152" y="424163"/>
                </a:lnTo>
                <a:lnTo>
                  <a:pt x="0" y="424163"/>
                </a:lnTo>
                <a:close/>
              </a:path>
            </a:pathLst>
          </a:custGeom>
          <a:solidFill>
            <a:schemeClr val="bg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3" name="Rectangle 3"/>
          <p:cNvSpPr/>
          <p:nvPr userDrawn="1"/>
        </p:nvSpPr>
        <p:spPr bwMode="auto">
          <a:xfrm flipH="1">
            <a:off x="7443993" y="5145088"/>
            <a:ext cx="1705959" cy="1712912"/>
          </a:xfrm>
          <a:custGeom>
            <a:avLst/>
            <a:gdLst/>
            <a:ahLst/>
            <a:cxnLst/>
            <a:rect l="l" t="t" r="r" b="b"/>
            <a:pathLst>
              <a:path w="1705959" h="1712912">
                <a:moveTo>
                  <a:pt x="0" y="0"/>
                </a:moveTo>
                <a:lnTo>
                  <a:pt x="0" y="1712912"/>
                </a:lnTo>
                <a:lnTo>
                  <a:pt x="1705959" y="1712912"/>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5" name="Rectangle 3"/>
          <p:cNvSpPr/>
          <p:nvPr userDrawn="1"/>
        </p:nvSpPr>
        <p:spPr bwMode="auto">
          <a:xfrm>
            <a:off x="7443993" y="6700629"/>
            <a:ext cx="590344" cy="157371"/>
          </a:xfrm>
          <a:custGeom>
            <a:avLst/>
            <a:gdLst/>
            <a:ahLst/>
            <a:cxnLst/>
            <a:rect l="l" t="t" r="r" b="b"/>
            <a:pathLst>
              <a:path w="590344" h="157371">
                <a:moveTo>
                  <a:pt x="156733" y="0"/>
                </a:moveTo>
                <a:lnTo>
                  <a:pt x="590344" y="157371"/>
                </a:lnTo>
                <a:lnTo>
                  <a:pt x="0" y="157371"/>
                </a:lnTo>
                <a:close/>
              </a:path>
            </a:pathLst>
          </a:custGeom>
          <a:solidFill>
            <a:srgbClr val="A1052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Tree>
    <p:extLst>
      <p:ext uri="{BB962C8B-B14F-4D97-AF65-F5344CB8AC3E}">
        <p14:creationId xmlns:p14="http://schemas.microsoft.com/office/powerpoint/2010/main" val="214372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Header 4">
    <p:bg>
      <p:bgPr>
        <a:solidFill>
          <a:schemeClr val="accent1"/>
        </a:solidFill>
        <a:effectLst/>
      </p:bgPr>
    </p:bg>
    <p:spTree>
      <p:nvGrpSpPr>
        <p:cNvPr id="1" name=""/>
        <p:cNvGrpSpPr/>
        <p:nvPr/>
      </p:nvGrpSpPr>
      <p:grpSpPr>
        <a:xfrm>
          <a:off x="0" y="0"/>
          <a:ext cx="0" cy="0"/>
          <a:chOff x="0" y="0"/>
          <a:chExt cx="0" cy="0"/>
        </a:xfrm>
      </p:grpSpPr>
      <p:sp>
        <p:nvSpPr>
          <p:cNvPr id="12" name="Freeform 6"/>
          <p:cNvSpPr>
            <a:spLocks/>
          </p:cNvSpPr>
          <p:nvPr userDrawn="1"/>
        </p:nvSpPr>
        <p:spPr bwMode="auto">
          <a:xfrm>
            <a:off x="3425840" y="0"/>
            <a:ext cx="5733420" cy="6858000"/>
          </a:xfrm>
          <a:custGeom>
            <a:avLst/>
            <a:gdLst/>
            <a:ahLst/>
            <a:cxnLst/>
            <a:rect l="l" t="t" r="r" b="b"/>
            <a:pathLst>
              <a:path w="5733420" h="6858000">
                <a:moveTo>
                  <a:pt x="0" y="0"/>
                </a:moveTo>
                <a:lnTo>
                  <a:pt x="634" y="0"/>
                </a:lnTo>
                <a:lnTo>
                  <a:pt x="5733420" y="0"/>
                </a:lnTo>
                <a:lnTo>
                  <a:pt x="5729588" y="6858000"/>
                </a:lnTo>
                <a:lnTo>
                  <a:pt x="3963034" y="685800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368555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67506" y="3449416"/>
            <a:ext cx="5082510" cy="984885"/>
          </a:xfrm>
        </p:spPr>
        <p:txBody>
          <a:bodyPr anchor="b"/>
          <a:lstStyle>
            <a:lvl1pPr>
              <a:defRPr sz="4000" b="0" baseline="0">
                <a:solidFill>
                  <a:schemeClr val="bg1"/>
                </a:solidFill>
                <a:latin typeface="+mj-lt"/>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370840" y="4452621"/>
            <a:ext cx="5052186" cy="488157"/>
          </a:xfrm>
        </p:spPr>
        <p:txBody>
          <a:bodyPr anchor="t">
            <a:normAutofit/>
          </a:bodyPr>
          <a:lstStyle>
            <a:lvl1pPr marL="0" indent="0" algn="l">
              <a:buNone/>
              <a:defRPr sz="2400" b="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19" name="Isosceles Triangle 18"/>
          <p:cNvSpPr/>
          <p:nvPr userDrawn="1"/>
        </p:nvSpPr>
        <p:spPr bwMode="auto">
          <a:xfrm>
            <a:off x="7496175" y="3993931"/>
            <a:ext cx="1661161" cy="2864069"/>
          </a:xfrm>
          <a:custGeom>
            <a:avLst/>
            <a:gdLst/>
            <a:ahLst/>
            <a:cxnLst/>
            <a:rect l="l" t="t" r="r" b="b"/>
            <a:pathLst>
              <a:path w="1661161" h="2864069">
                <a:moveTo>
                  <a:pt x="1661161" y="0"/>
                </a:moveTo>
                <a:lnTo>
                  <a:pt x="1661161" y="2864069"/>
                </a:lnTo>
                <a:lnTo>
                  <a:pt x="0" y="2864069"/>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1" name="Freeform 6"/>
          <p:cNvSpPr>
            <a:spLocks/>
          </p:cNvSpPr>
          <p:nvPr userDrawn="1"/>
        </p:nvSpPr>
        <p:spPr bwMode="auto">
          <a:xfrm>
            <a:off x="4879047" y="0"/>
            <a:ext cx="4280213" cy="5697264"/>
          </a:xfrm>
          <a:custGeom>
            <a:avLst/>
            <a:gdLst/>
            <a:ahLst/>
            <a:cxnLst/>
            <a:rect l="l" t="t" r="r" b="b"/>
            <a:pathLst>
              <a:path w="4280213" h="5697264">
                <a:moveTo>
                  <a:pt x="0" y="0"/>
                </a:moveTo>
                <a:lnTo>
                  <a:pt x="634" y="0"/>
                </a:lnTo>
                <a:lnTo>
                  <a:pt x="4280213" y="0"/>
                </a:lnTo>
                <a:lnTo>
                  <a:pt x="4280213" y="3993931"/>
                </a:lnTo>
                <a:lnTo>
                  <a:pt x="3292279" y="569726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14" name="Isosceles Triangle 13"/>
          <p:cNvSpPr/>
          <p:nvPr userDrawn="1"/>
        </p:nvSpPr>
        <p:spPr bwMode="auto">
          <a:xfrm>
            <a:off x="7496175" y="5696782"/>
            <a:ext cx="1347013" cy="1161218"/>
          </a:xfrm>
          <a:prstGeom prst="triangle">
            <a:avLst/>
          </a:pr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680822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lor Background 2">
    <p:spTree>
      <p:nvGrpSpPr>
        <p:cNvPr id="1" name=""/>
        <p:cNvGrpSpPr/>
        <p:nvPr/>
      </p:nvGrpSpPr>
      <p:grpSpPr>
        <a:xfrm>
          <a:off x="0" y="0"/>
          <a:ext cx="0" cy="0"/>
          <a:chOff x="0" y="0"/>
          <a:chExt cx="0" cy="0"/>
        </a:xfrm>
      </p:grpSpPr>
      <p:sp>
        <p:nvSpPr>
          <p:cNvPr id="9" name="Rectangle 8"/>
          <p:cNvSpPr/>
          <p:nvPr userDrawn="1"/>
        </p:nvSpPr>
        <p:spPr bwMode="auto">
          <a:xfrm>
            <a:off x="0" y="0"/>
            <a:ext cx="9144000" cy="6216650"/>
          </a:xfrm>
          <a:prstGeom prst="rect">
            <a:avLst/>
          </a:prstGeom>
          <a:solidFill>
            <a:schemeClr val="accent3"/>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0" name="Rectangle 16"/>
          <p:cNvSpPr/>
          <p:nvPr userDrawn="1"/>
        </p:nvSpPr>
        <p:spPr bwMode="auto">
          <a:xfrm>
            <a:off x="0" y="0"/>
            <a:ext cx="6496088" cy="6216650"/>
          </a:xfrm>
          <a:custGeom>
            <a:avLst/>
            <a:gdLst/>
            <a:ahLst/>
            <a:cxnLst/>
            <a:rect l="l" t="t" r="r" b="b"/>
            <a:pathLst>
              <a:path w="6496088" h="6216650">
                <a:moveTo>
                  <a:pt x="0" y="0"/>
                </a:moveTo>
                <a:lnTo>
                  <a:pt x="6496088" y="0"/>
                </a:lnTo>
                <a:cubicBezTo>
                  <a:pt x="6224151" y="475381"/>
                  <a:pt x="2923062" y="6156962"/>
                  <a:pt x="2900554" y="6216650"/>
                </a:cubicBezTo>
                <a:lnTo>
                  <a:pt x="0" y="6216650"/>
                </a:lnTo>
                <a:close/>
              </a:path>
            </a:pathLst>
          </a:custGeom>
          <a:solidFill>
            <a:schemeClr val="accent1"/>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1" name="Rectangle 12"/>
          <p:cNvSpPr/>
          <p:nvPr userDrawn="1"/>
        </p:nvSpPr>
        <p:spPr bwMode="auto">
          <a:xfrm>
            <a:off x="1" y="0"/>
            <a:ext cx="1179707" cy="2041416"/>
          </a:xfrm>
          <a:custGeom>
            <a:avLst/>
            <a:gdLst/>
            <a:ahLst/>
            <a:cxnLst/>
            <a:rect l="l" t="t" r="r" b="b"/>
            <a:pathLst>
              <a:path w="1179707" h="2041416">
                <a:moveTo>
                  <a:pt x="0" y="0"/>
                </a:moveTo>
                <a:lnTo>
                  <a:pt x="1179707" y="0"/>
                </a:lnTo>
                <a:cubicBezTo>
                  <a:pt x="667559" y="883988"/>
                  <a:pt x="213348" y="1669135"/>
                  <a:pt x="0" y="2041416"/>
                </a:cubicBezTo>
                <a:close/>
              </a:path>
            </a:pathLst>
          </a:custGeom>
          <a:solidFill>
            <a:schemeClr val="bg2"/>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2" name="Rectangle 9"/>
          <p:cNvSpPr/>
          <p:nvPr userDrawn="1"/>
        </p:nvSpPr>
        <p:spPr bwMode="auto">
          <a:xfrm>
            <a:off x="7596336" y="3534372"/>
            <a:ext cx="1547664" cy="2682279"/>
          </a:xfrm>
          <a:custGeom>
            <a:avLst/>
            <a:gdLst/>
            <a:ahLst/>
            <a:cxnLst/>
            <a:rect l="l" t="t" r="r" b="b"/>
            <a:pathLst>
              <a:path w="1547664" h="2682279">
                <a:moveTo>
                  <a:pt x="1547664" y="0"/>
                </a:moveTo>
                <a:lnTo>
                  <a:pt x="1547664" y="2682279"/>
                </a:lnTo>
                <a:lnTo>
                  <a:pt x="0" y="2682279"/>
                </a:lnTo>
                <a:cubicBezTo>
                  <a:pt x="10572" y="2654246"/>
                  <a:pt x="744233" y="1386307"/>
                  <a:pt x="1547664" y="0"/>
                </a:cubicBezTo>
                <a:close/>
              </a:path>
            </a:pathLst>
          </a:custGeom>
          <a:solidFill>
            <a:schemeClr val="accent4"/>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13" name="Rectangle 17"/>
          <p:cNvSpPr/>
          <p:nvPr userDrawn="1"/>
        </p:nvSpPr>
        <p:spPr bwMode="auto">
          <a:xfrm>
            <a:off x="8596064" y="5261240"/>
            <a:ext cx="547936" cy="955410"/>
          </a:xfrm>
          <a:custGeom>
            <a:avLst/>
            <a:gdLst/>
            <a:ahLst/>
            <a:cxnLst/>
            <a:rect l="l" t="t" r="r" b="b"/>
            <a:pathLst>
              <a:path w="547936" h="955410">
                <a:moveTo>
                  <a:pt x="547936" y="0"/>
                </a:moveTo>
                <a:lnTo>
                  <a:pt x="547936" y="955410"/>
                </a:lnTo>
                <a:lnTo>
                  <a:pt x="0" y="955410"/>
                </a:lnTo>
                <a:cubicBezTo>
                  <a:pt x="5725" y="940240"/>
                  <a:pt x="222775" y="562702"/>
                  <a:pt x="547936" y="0"/>
                </a:cubicBezTo>
                <a:close/>
              </a:path>
            </a:pathLst>
          </a:custGeom>
          <a:solidFill>
            <a:srgbClr val="A10524"/>
          </a:solid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en-US">
              <a:solidFill>
                <a:srgbClr val="38454F"/>
              </a:solidFill>
            </a:endParaRPr>
          </a:p>
        </p:txBody>
      </p:sp>
      <p:sp>
        <p:nvSpPr>
          <p:cNvPr id="2" name="Title 1"/>
          <p:cNvSpPr>
            <a:spLocks noGrp="1"/>
          </p:cNvSpPr>
          <p:nvPr>
            <p:ph type="title"/>
          </p:nvPr>
        </p:nvSpPr>
        <p:spPr>
          <a:xfrm>
            <a:off x="302578" y="2431217"/>
            <a:ext cx="8526244" cy="677108"/>
          </a:xfrm>
        </p:spPr>
        <p:txBody>
          <a:bodyPr lIns="91440" tIns="91440" rIns="91440" bIns="91440" anchor="ctr" anchorCtr="0"/>
          <a:lstStyle>
            <a:lvl1pPr algn="ctr">
              <a:defRPr sz="4000" baseline="0">
                <a:solidFill>
                  <a:schemeClr val="bg1"/>
                </a:solidFill>
              </a:defRPr>
            </a:lvl1pPr>
          </a:lstStyle>
          <a:p>
            <a:r>
              <a:rPr lang="en-US" noProof="0"/>
              <a:t>Click to edit Master title style</a:t>
            </a:r>
            <a:endParaRPr lang="en-US" noProof="0" dirty="0"/>
          </a:p>
        </p:txBody>
      </p:sp>
      <p:sp>
        <p:nvSpPr>
          <p:cNvPr id="6" name="Slide Number Placeholder 5"/>
          <p:cNvSpPr>
            <a:spLocks noGrp="1" noChangeAspect="1"/>
          </p:cNvSpPr>
          <p:nvPr>
            <p:ph type="sldNum" sz="quarter" idx="15"/>
          </p:nvPr>
        </p:nvSpPr>
        <p:spPr/>
        <p:txBody>
          <a:bodyPr/>
          <a:lstStyle>
            <a:lvl1pPr>
              <a:defRPr/>
            </a:lvl1pPr>
          </a:lstStyle>
          <a:p>
            <a:pPr>
              <a:defRPr/>
            </a:pPr>
            <a:fld id="{5DECDCEA-E18D-4523-BF91-873425F15DC2}" type="slidenum">
              <a:rPr lang="en-US">
                <a:solidFill>
                  <a:srgbClr val="38454F"/>
                </a:solidFill>
              </a:rPr>
              <a:pPr>
                <a:defRPr/>
              </a:pPr>
              <a:t>‹#›</a:t>
            </a:fld>
            <a:endParaRPr lang="en-US" dirty="0">
              <a:solidFill>
                <a:srgbClr val="38454F"/>
              </a:solidFill>
            </a:endParaRPr>
          </a:p>
        </p:txBody>
      </p:sp>
    </p:spTree>
    <p:extLst>
      <p:ext uri="{BB962C8B-B14F-4D97-AF65-F5344CB8AC3E}">
        <p14:creationId xmlns:p14="http://schemas.microsoft.com/office/powerpoint/2010/main" val="3736431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or Background with Title and Conten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3538" y="632274"/>
            <a:ext cx="8526244" cy="344710"/>
          </a:xfrm>
        </p:spPr>
        <p:txBody>
          <a:bodyPr/>
          <a:lstStyle>
            <a:lvl1pPr>
              <a:defRPr sz="2800">
                <a:solidFill>
                  <a:schemeClr val="bg1"/>
                </a:solidFill>
              </a:defRPr>
            </a:lvl1pPr>
          </a:lstStyle>
          <a:p>
            <a:r>
              <a:rPr lang="en-US" noProof="0"/>
              <a:t>Click to edit Master title style</a:t>
            </a:r>
            <a:endParaRPr lang="en-US" dirty="0"/>
          </a:p>
        </p:txBody>
      </p:sp>
      <p:sp>
        <p:nvSpPr>
          <p:cNvPr id="3" name="Content Placeholder 2"/>
          <p:cNvSpPr>
            <a:spLocks noGrp="1"/>
          </p:cNvSpPr>
          <p:nvPr>
            <p:ph idx="1"/>
          </p:nvPr>
        </p:nvSpPr>
        <p:spPr>
          <a:xfrm>
            <a:off x="363538" y="1524000"/>
            <a:ext cx="8515350" cy="461670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4"/>
          </p:nvPr>
        </p:nvSpPr>
        <p:spPr>
          <a:xfrm>
            <a:off x="371475" y="996026"/>
            <a:ext cx="8528685" cy="276999"/>
          </a:xfrm>
        </p:spPr>
        <p:txBody>
          <a:bodyPr wrap="square">
            <a:spAutoFit/>
          </a:bodyPr>
          <a:lstStyle>
            <a:lvl1pPr marL="0" indent="0">
              <a:buNone/>
              <a:defRPr b="0">
                <a:solidFill>
                  <a:schemeClr val="bg1"/>
                </a:solidFill>
              </a:defRPr>
            </a:lvl1pPr>
            <a:lvl2pPr marL="233362" indent="0">
              <a:buNone/>
              <a:defRPr b="0"/>
            </a:lvl2pPr>
            <a:lvl3pPr marL="457200" indent="0">
              <a:buNone/>
              <a:defRPr b="0"/>
            </a:lvl3pPr>
            <a:lvl4pPr marL="690562" indent="0">
              <a:buNone/>
              <a:defRPr b="0"/>
            </a:lvl4pPr>
            <a:lvl5pPr marL="914400" indent="0">
              <a:buNone/>
              <a:defRPr b="0"/>
            </a:lvl5pPr>
          </a:lstStyle>
          <a:p>
            <a:pPr lvl="0"/>
            <a:r>
              <a:rPr lang="en-US"/>
              <a:t>Click to edit Master text styles</a:t>
            </a:r>
          </a:p>
        </p:txBody>
      </p:sp>
      <p:sp>
        <p:nvSpPr>
          <p:cNvPr id="7" name="Freeform 783"/>
          <p:cNvSpPr>
            <a:spLocks/>
          </p:cNvSpPr>
          <p:nvPr userDrawn="1"/>
        </p:nvSpPr>
        <p:spPr bwMode="auto">
          <a:xfrm>
            <a:off x="8256901" y="5314384"/>
            <a:ext cx="897577" cy="1552352"/>
          </a:xfrm>
          <a:custGeom>
            <a:avLst/>
            <a:gdLst/>
            <a:ahLst/>
            <a:cxnLst/>
            <a:rect l="l" t="t" r="r" b="b"/>
            <a:pathLst>
              <a:path w="897577" h="1552352">
                <a:moveTo>
                  <a:pt x="897577" y="0"/>
                </a:moveTo>
                <a:lnTo>
                  <a:pt x="897577" y="917479"/>
                </a:lnTo>
                <a:lnTo>
                  <a:pt x="897577" y="917480"/>
                </a:lnTo>
                <a:lnTo>
                  <a:pt x="897577" y="1552352"/>
                </a:lnTo>
                <a:lnTo>
                  <a:pt x="736372" y="1552352"/>
                </a:lnTo>
                <a:lnTo>
                  <a:pt x="736371" y="1552352"/>
                </a:lnTo>
                <a:lnTo>
                  <a:pt x="0" y="1552352"/>
                </a:lnTo>
                <a:lnTo>
                  <a:pt x="368185" y="917480"/>
                </a:lnTo>
                <a:lnTo>
                  <a:pt x="368185" y="917480"/>
                </a:lnTo>
                <a:lnTo>
                  <a:pt x="368185" y="917480"/>
                </a:lnTo>
                <a:lnTo>
                  <a:pt x="368185" y="917479"/>
                </a:lnTo>
                <a:lnTo>
                  <a:pt x="368186" y="917479"/>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4D4D4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224" y="6433588"/>
            <a:ext cx="1673352" cy="326108"/>
          </a:xfrm>
          <a:prstGeom prst="rect">
            <a:avLst/>
          </a:prstGeom>
        </p:spPr>
      </p:pic>
    </p:spTree>
    <p:extLst>
      <p:ext uri="{BB962C8B-B14F-4D97-AF65-F5344CB8AC3E}">
        <p14:creationId xmlns:p14="http://schemas.microsoft.com/office/powerpoint/2010/main" val="4013376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NUL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oleObject" Target="../embeddings/oleObject7.bin"/><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4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vmlDrawing" Target="../drawings/vmlDrawing7.vml"/><Relationship Id="rId30" Type="http://schemas.openxmlformats.org/officeDocument/2006/relationships/image" Target="NUL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theme" Target="../theme/theme3.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oleObject" Target="../embeddings/oleObject13.bin"/><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tags" Target="../tags/tag81.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vmlDrawing" Target="../drawings/vmlDrawing13.vml"/><Relationship Id="rId30" Type="http://schemas.openxmlformats.org/officeDocument/2006/relationships/image" Target="NUL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theme" Target="../theme/theme4.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oleObject" Target="../embeddings/oleObject19.bin"/><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tags" Target="../tags/tag121.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vmlDrawing" Target="../drawings/vmlDrawing19.vml"/><Relationship Id="rId30" Type="http://schemas.openxmlformats.org/officeDocument/2006/relationships/image" Target="NUL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theme" Target="../theme/theme5.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oleObject" Target="../embeddings/oleObject25.bin"/><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tags" Target="../tags/tag161.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vmlDrawing" Target="../drawings/vmlDrawing25.vml"/><Relationship Id="rId30" Type="http://schemas.openxmlformats.org/officeDocument/2006/relationships/image" Target="NUL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theme" Target="../theme/theme6.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oleObject" Target="../embeddings/oleObject31.bin"/><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tags" Target="../tags/tag201.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vmlDrawing" Target="../drawings/vmlDrawing31.vml"/><Relationship Id="rId30" Type="http://schemas.openxmlformats.org/officeDocument/2006/relationships/image" Target="NUL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theme" Target="../theme/theme7.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1" name="Group 50"/>
          <p:cNvGrpSpPr>
            <a:grpSpLocks noChangeAspect="1"/>
          </p:cNvGrpSpPr>
          <p:nvPr/>
        </p:nvGrpSpPr>
        <p:grpSpPr>
          <a:xfrm>
            <a:off x="374651" y="6431112"/>
            <a:ext cx="1673352" cy="328463"/>
            <a:chOff x="374651" y="6029325"/>
            <a:chExt cx="2054224" cy="403225"/>
          </a:xfrm>
        </p:grpSpPr>
        <p:sp>
          <p:nvSpPr>
            <p:cNvPr id="52"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53"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67"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grpSp>
      <p:graphicFrame>
        <p:nvGraphicFramePr>
          <p:cNvPr id="2" name="Object 1" hidden="1"/>
          <p:cNvGraphicFramePr>
            <a:graphicFrameLocks noChangeAspect="1"/>
          </p:cNvGraphicFramePr>
          <p:nvPr>
            <p:custDataLst>
              <p:tags r:id="rId28"/>
            </p:custDataLst>
            <p:extLst>
              <p:ext uri="{D42A27DB-BD31-4B8C-83A1-F6EECF244321}">
                <p14:modId xmlns:p14="http://schemas.microsoft.com/office/powerpoint/2010/main" val="3953989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4"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1030" name="Title Placeholder 1"/>
          <p:cNvSpPr>
            <a:spLocks noGrp="1"/>
          </p:cNvSpPr>
          <p:nvPr>
            <p:ph type="title"/>
          </p:nvPr>
        </p:nvSpPr>
        <p:spPr bwMode="auto">
          <a:xfrm>
            <a:off x="363538" y="279495"/>
            <a:ext cx="8432800" cy="689420"/>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noProof="0" dirty="0"/>
              <a:t>Headline – Arial 36pt Bold</a:t>
            </a:r>
            <a:br>
              <a:rPr lang="en-US" noProof="0" dirty="0"/>
            </a:br>
            <a:r>
              <a:rPr lang="en-US" noProof="0" dirty="0"/>
              <a:t>Space for 2 lines</a:t>
            </a:r>
          </a:p>
        </p:txBody>
      </p:sp>
      <p:sp>
        <p:nvSpPr>
          <p:cNvPr id="3" name="Text Placeholder 2"/>
          <p:cNvSpPr>
            <a:spLocks noGrp="1"/>
          </p:cNvSpPr>
          <p:nvPr>
            <p:ph type="body" idx="1"/>
          </p:nvPr>
        </p:nvSpPr>
        <p:spPr>
          <a:xfrm>
            <a:off x="363538" y="1073150"/>
            <a:ext cx="8432800" cy="5285741"/>
          </a:xfrm>
          <a:prstGeom prst="rect">
            <a:avLst/>
          </a:prstGeom>
        </p:spPr>
        <p:txBody>
          <a:bodyPr vert="horz" lIns="0" tIns="0" rIns="0" bIns="0" rtlCol="0">
            <a:noAutofit/>
          </a:bodyPr>
          <a:lstStyle/>
          <a:p>
            <a:pPr lvl="0"/>
            <a:r>
              <a:rPr lang="en-US" noProof="0" dirty="0"/>
              <a:t>First level – 18pt</a:t>
            </a:r>
          </a:p>
          <a:p>
            <a:pPr lvl="1"/>
            <a:r>
              <a:rPr lang="en-US" noProof="0" dirty="0"/>
              <a:t>Second level – 16pt</a:t>
            </a:r>
          </a:p>
          <a:p>
            <a:pPr lvl="2"/>
            <a:r>
              <a:rPr lang="en-US" noProof="0" dirty="0"/>
              <a:t>Third level – 16pt</a:t>
            </a:r>
          </a:p>
          <a:p>
            <a:pPr lvl="3"/>
            <a:r>
              <a:rPr lang="en-US" noProof="0" dirty="0"/>
              <a:t>Fourth level – 14pt</a:t>
            </a:r>
          </a:p>
          <a:p>
            <a:pPr lvl="4"/>
            <a:r>
              <a:rPr lang="en-US" noProof="0" dirty="0"/>
              <a:t>Fifth level – 14pt</a:t>
            </a:r>
          </a:p>
        </p:txBody>
      </p:sp>
      <p:sp>
        <p:nvSpPr>
          <p:cNvPr id="21" name="TextBox 20"/>
          <p:cNvSpPr txBox="1"/>
          <p:nvPr/>
        </p:nvSpPr>
        <p:spPr>
          <a:xfrm>
            <a:off x="3214688" y="6517547"/>
            <a:ext cx="2743200" cy="230832"/>
          </a:xfrm>
          <a:prstGeom prst="rect">
            <a:avLst/>
          </a:prstGeom>
          <a:noFill/>
        </p:spPr>
        <p:txBody>
          <a:bodyPr anchor="b">
            <a:spAutoFit/>
          </a:bodyPr>
          <a:lstStyle/>
          <a:p>
            <a:pPr algn="ctr" fontAlgn="auto">
              <a:spcBef>
                <a:spcPts val="0"/>
              </a:spcBef>
              <a:spcAft>
                <a:spcPts val="0"/>
              </a:spcAft>
              <a:defRPr/>
            </a:pPr>
            <a:r>
              <a:rPr lang="en-US" sz="900" kern="0" noProof="0" dirty="0">
                <a:solidFill>
                  <a:schemeClr val="tx1">
                    <a:lumMod val="60000"/>
                    <a:lumOff val="40000"/>
                  </a:schemeClr>
                </a:solidFill>
                <a:latin typeface="Oslo" pitchFamily="34" charset="0"/>
              </a:rPr>
              <a:t>COMPANY CONFIDENTIAL</a:t>
            </a:r>
          </a:p>
        </p:txBody>
      </p:sp>
      <p:sp>
        <p:nvSpPr>
          <p:cNvPr id="23" name="Date Placeholder 3"/>
          <p:cNvSpPr>
            <a:spLocks noGrp="1" noChangeAspect="1"/>
          </p:cNvSpPr>
          <p:nvPr>
            <p:ph type="dt" sz="half" idx="2"/>
          </p:nvPr>
        </p:nvSpPr>
        <p:spPr>
          <a:xfrm>
            <a:off x="7428667" y="6389441"/>
            <a:ext cx="910116" cy="365125"/>
          </a:xfrm>
          <a:prstGeom prst="rect">
            <a:avLst/>
          </a:prstGeom>
        </p:spPr>
        <p:txBody>
          <a:bodyPr vert="horz" lIns="91440" tIns="45720" rIns="91440" bIns="45720" rtlCol="0" anchor="b"/>
          <a:lstStyle>
            <a:lvl1pPr algn="r" fontAlgn="auto">
              <a:spcBef>
                <a:spcPts val="0"/>
              </a:spcBef>
              <a:spcAft>
                <a:spcPts val="0"/>
              </a:spcAft>
              <a:defRPr sz="1000" smtClean="0">
                <a:solidFill>
                  <a:schemeClr val="tx1"/>
                </a:solidFill>
                <a:latin typeface="Oslo" pitchFamily="34" charset="0"/>
              </a:defRPr>
            </a:lvl1pPr>
          </a:lstStyle>
          <a:p>
            <a:pPr>
              <a:defRPr/>
            </a:pPr>
            <a:endParaRPr lang="en-US" noProof="0" dirty="0"/>
          </a:p>
        </p:txBody>
      </p:sp>
      <p:sp>
        <p:nvSpPr>
          <p:cNvPr id="24" name="Slide Number Placeholder 5"/>
          <p:cNvSpPr>
            <a:spLocks noGrp="1" noChangeAspect="1"/>
          </p:cNvSpPr>
          <p:nvPr>
            <p:ph type="sldNum" sz="quarter" idx="4"/>
          </p:nvPr>
        </p:nvSpPr>
        <p:spPr>
          <a:xfrm>
            <a:off x="8353940" y="6389441"/>
            <a:ext cx="523875" cy="365125"/>
          </a:xfrm>
          <a:prstGeom prst="rect">
            <a:avLst/>
          </a:prstGeom>
        </p:spPr>
        <p:txBody>
          <a:bodyPr vert="horz" lIns="91440" tIns="45720" rIns="91440" bIns="45720" rtlCol="0" anchor="b"/>
          <a:lstStyle>
            <a:lvl1pPr algn="r" fontAlgn="auto">
              <a:spcBef>
                <a:spcPts val="0"/>
              </a:spcBef>
              <a:spcAft>
                <a:spcPts val="0"/>
              </a:spcAft>
              <a:defRPr sz="1000" smtClean="0">
                <a:solidFill>
                  <a:schemeClr val="tx1"/>
                </a:solidFill>
                <a:latin typeface="Oslo" pitchFamily="34" charset="0"/>
              </a:defRPr>
            </a:lvl1pPr>
          </a:lstStyle>
          <a:p>
            <a:pPr>
              <a:defRPr/>
            </a:pPr>
            <a:fld id="{91D03FF3-2B9E-4617-A592-48F56EC63E6E}" type="slidenum">
              <a:rPr lang="en-US" noProof="0"/>
              <a:pPr>
                <a:defRPr/>
              </a:pPr>
              <a:t>‹#›</a:t>
            </a:fld>
            <a:endParaRPr lang="en-US" noProof="0" dirty="0"/>
          </a:p>
        </p:txBody>
      </p:sp>
      <p:sp>
        <p:nvSpPr>
          <p:cNvPr id="31" name="Rectangle 17"/>
          <p:cNvSpPr/>
          <p:nvPr/>
        </p:nvSpPr>
        <p:spPr bwMode="auto">
          <a:xfrm>
            <a:off x="6409826" y="0"/>
            <a:ext cx="828773" cy="171450"/>
          </a:xfrm>
          <a:custGeom>
            <a:avLst/>
            <a:gdLst/>
            <a:ahLst/>
            <a:cxnLst/>
            <a:rect l="l" t="t" r="r" b="b"/>
            <a:pathLst>
              <a:path w="828773" h="171450">
                <a:moveTo>
                  <a:pt x="99233" y="0"/>
                </a:moveTo>
                <a:lnTo>
                  <a:pt x="828773" y="0"/>
                </a:lnTo>
                <a:lnTo>
                  <a:pt x="729540" y="171450"/>
                </a:lnTo>
                <a:lnTo>
                  <a:pt x="0" y="171450"/>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p>
        </p:txBody>
      </p:sp>
      <p:sp>
        <p:nvSpPr>
          <p:cNvPr id="33" name="Rectangle 17"/>
          <p:cNvSpPr/>
          <p:nvPr/>
        </p:nvSpPr>
        <p:spPr bwMode="auto">
          <a:xfrm>
            <a:off x="0" y="0"/>
            <a:ext cx="6579109" cy="171450"/>
          </a:xfrm>
          <a:custGeom>
            <a:avLst/>
            <a:gdLst/>
            <a:ahLst/>
            <a:cxnLst/>
            <a:rect l="l" t="t" r="r" b="b"/>
            <a:pathLst>
              <a:path w="6579109" h="171450">
                <a:moveTo>
                  <a:pt x="0" y="0"/>
                </a:moveTo>
                <a:lnTo>
                  <a:pt x="5390641" y="0"/>
                </a:lnTo>
                <a:lnTo>
                  <a:pt x="6090420" y="0"/>
                </a:lnTo>
                <a:lnTo>
                  <a:pt x="6579109" y="0"/>
                </a:lnTo>
                <a:lnTo>
                  <a:pt x="6479876" y="171450"/>
                </a:lnTo>
                <a:lnTo>
                  <a:pt x="5581891" y="171450"/>
                </a:lnTo>
                <a:lnTo>
                  <a:pt x="5390641" y="171450"/>
                </a:lnTo>
                <a:lnTo>
                  <a:pt x="0" y="171450"/>
                </a:lnTo>
                <a:close/>
              </a:path>
            </a:pathLst>
          </a:cu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p>
        </p:txBody>
      </p:sp>
      <p:sp>
        <p:nvSpPr>
          <p:cNvPr id="34" name="Rectangle 17"/>
          <p:cNvSpPr/>
          <p:nvPr/>
        </p:nvSpPr>
        <p:spPr bwMode="auto">
          <a:xfrm>
            <a:off x="7092280" y="0"/>
            <a:ext cx="2051718" cy="171450"/>
          </a:xfrm>
          <a:custGeom>
            <a:avLst/>
            <a:gdLst/>
            <a:ahLst/>
            <a:cxnLst/>
            <a:rect l="l" t="t" r="r" b="b"/>
            <a:pathLst>
              <a:path w="2051718" h="171450">
                <a:moveTo>
                  <a:pt x="99233" y="0"/>
                </a:moveTo>
                <a:lnTo>
                  <a:pt x="675297" y="0"/>
                </a:lnTo>
                <a:lnTo>
                  <a:pt x="828773" y="0"/>
                </a:lnTo>
                <a:lnTo>
                  <a:pt x="1146065" y="0"/>
                </a:lnTo>
                <a:lnTo>
                  <a:pt x="1404837" y="0"/>
                </a:lnTo>
                <a:lnTo>
                  <a:pt x="2051718" y="0"/>
                </a:lnTo>
                <a:lnTo>
                  <a:pt x="2051718" y="171450"/>
                </a:lnTo>
                <a:lnTo>
                  <a:pt x="1305604" y="171450"/>
                </a:lnTo>
                <a:lnTo>
                  <a:pt x="1046832" y="171450"/>
                </a:lnTo>
                <a:lnTo>
                  <a:pt x="576064" y="171450"/>
                </a:lnTo>
                <a:lnTo>
                  <a:pt x="576064" y="171450"/>
                </a:lnTo>
                <a:lnTo>
                  <a:pt x="0" y="171450"/>
                </a:lnTo>
                <a:close/>
              </a:path>
            </a:pathLst>
          </a:custGeom>
          <a:solidFill>
            <a:srgbClr val="BFF21C"/>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p>
        </p:txBody>
      </p:sp>
      <p:sp>
        <p:nvSpPr>
          <p:cNvPr id="35" name="Rectangle 17"/>
          <p:cNvSpPr/>
          <p:nvPr/>
        </p:nvSpPr>
        <p:spPr bwMode="auto">
          <a:xfrm>
            <a:off x="0" y="0"/>
            <a:ext cx="1188468" cy="171450"/>
          </a:xfrm>
          <a:custGeom>
            <a:avLst/>
            <a:gdLst>
              <a:gd name="connsiteX0" fmla="*/ 0 w 1188468"/>
              <a:gd name="connsiteY0" fmla="*/ 0 h 171450"/>
              <a:gd name="connsiteX1" fmla="*/ 336134 w 1188468"/>
              <a:gd name="connsiteY1" fmla="*/ 0 h 171450"/>
              <a:gd name="connsiteX2" fmla="*/ 1188468 w 1188468"/>
              <a:gd name="connsiteY2" fmla="*/ 0 h 171450"/>
              <a:gd name="connsiteX3" fmla="*/ 1168375 w 1188468"/>
              <a:gd name="connsiteY3" fmla="*/ 34787 h 171450"/>
              <a:gd name="connsiteX4" fmla="*/ 1089235 w 1188468"/>
              <a:gd name="connsiteY4" fmla="*/ 171450 h 171450"/>
              <a:gd name="connsiteX5" fmla="*/ 816864 w 1188468"/>
              <a:gd name="connsiteY5" fmla="*/ 171450 h 171450"/>
              <a:gd name="connsiteX6" fmla="*/ 237145 w 1188468"/>
              <a:gd name="connsiteY6" fmla="*/ 171450 h 171450"/>
              <a:gd name="connsiteX7" fmla="*/ 0 w 1188468"/>
              <a:gd name="connsiteY7" fmla="*/ 171450 h 171450"/>
              <a:gd name="connsiteX8" fmla="*/ 0 w 1188468"/>
              <a:gd name="connsiteY8" fmla="*/ 0 h 171450"/>
              <a:gd name="connsiteX0" fmla="*/ 0 w 1188468"/>
              <a:gd name="connsiteY0" fmla="*/ 0 h 171450"/>
              <a:gd name="connsiteX1" fmla="*/ 336134 w 1188468"/>
              <a:gd name="connsiteY1" fmla="*/ 0 h 171450"/>
              <a:gd name="connsiteX2" fmla="*/ 1188468 w 1188468"/>
              <a:gd name="connsiteY2" fmla="*/ 0 h 171450"/>
              <a:gd name="connsiteX3" fmla="*/ 1089235 w 1188468"/>
              <a:gd name="connsiteY3" fmla="*/ 171450 h 171450"/>
              <a:gd name="connsiteX4" fmla="*/ 816864 w 1188468"/>
              <a:gd name="connsiteY4" fmla="*/ 171450 h 171450"/>
              <a:gd name="connsiteX5" fmla="*/ 237145 w 1188468"/>
              <a:gd name="connsiteY5" fmla="*/ 171450 h 171450"/>
              <a:gd name="connsiteX6" fmla="*/ 0 w 1188468"/>
              <a:gd name="connsiteY6" fmla="*/ 171450 h 171450"/>
              <a:gd name="connsiteX7" fmla="*/ 0 w 1188468"/>
              <a:gd name="connsiteY7" fmla="*/ 0 h 171450"/>
              <a:gd name="connsiteX0" fmla="*/ 0 w 1188468"/>
              <a:gd name="connsiteY0" fmla="*/ 0 h 171450"/>
              <a:gd name="connsiteX1" fmla="*/ 336134 w 1188468"/>
              <a:gd name="connsiteY1" fmla="*/ 0 h 171450"/>
              <a:gd name="connsiteX2" fmla="*/ 1188468 w 1188468"/>
              <a:gd name="connsiteY2" fmla="*/ 0 h 171450"/>
              <a:gd name="connsiteX3" fmla="*/ 1089235 w 1188468"/>
              <a:gd name="connsiteY3" fmla="*/ 171450 h 171450"/>
              <a:gd name="connsiteX4" fmla="*/ 237145 w 1188468"/>
              <a:gd name="connsiteY4" fmla="*/ 171450 h 171450"/>
              <a:gd name="connsiteX5" fmla="*/ 0 w 1188468"/>
              <a:gd name="connsiteY5" fmla="*/ 171450 h 171450"/>
              <a:gd name="connsiteX6" fmla="*/ 0 w 1188468"/>
              <a:gd name="connsiteY6" fmla="*/ 0 h 171450"/>
              <a:gd name="connsiteX0" fmla="*/ 0 w 1188468"/>
              <a:gd name="connsiteY0" fmla="*/ 0 h 171450"/>
              <a:gd name="connsiteX1" fmla="*/ 1188468 w 1188468"/>
              <a:gd name="connsiteY1" fmla="*/ 0 h 171450"/>
              <a:gd name="connsiteX2" fmla="*/ 1089235 w 1188468"/>
              <a:gd name="connsiteY2" fmla="*/ 171450 h 171450"/>
              <a:gd name="connsiteX3" fmla="*/ 237145 w 1188468"/>
              <a:gd name="connsiteY3" fmla="*/ 171450 h 171450"/>
              <a:gd name="connsiteX4" fmla="*/ 0 w 1188468"/>
              <a:gd name="connsiteY4" fmla="*/ 171450 h 171450"/>
              <a:gd name="connsiteX5" fmla="*/ 0 w 1188468"/>
              <a:gd name="connsiteY5" fmla="*/ 0 h 171450"/>
              <a:gd name="connsiteX0" fmla="*/ 0 w 1188468"/>
              <a:gd name="connsiteY0" fmla="*/ 0 h 171450"/>
              <a:gd name="connsiteX1" fmla="*/ 1188468 w 1188468"/>
              <a:gd name="connsiteY1" fmla="*/ 0 h 171450"/>
              <a:gd name="connsiteX2" fmla="*/ 1089235 w 1188468"/>
              <a:gd name="connsiteY2" fmla="*/ 171450 h 171450"/>
              <a:gd name="connsiteX3" fmla="*/ 0 w 1188468"/>
              <a:gd name="connsiteY3" fmla="*/ 171450 h 171450"/>
              <a:gd name="connsiteX4" fmla="*/ 0 w 1188468"/>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468" h="171450">
                <a:moveTo>
                  <a:pt x="0" y="0"/>
                </a:moveTo>
                <a:lnTo>
                  <a:pt x="1188468" y="0"/>
                </a:lnTo>
                <a:lnTo>
                  <a:pt x="1089235" y="171450"/>
                </a:lnTo>
                <a:lnTo>
                  <a:pt x="0" y="171450"/>
                </a:lnTo>
                <a:lnTo>
                  <a:pt x="0" y="0"/>
                </a:lnTo>
                <a:close/>
              </a:path>
            </a:pathLst>
          </a:custGeom>
          <a:solidFill>
            <a:schemeClr val="bg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p>
        </p:txBody>
      </p:sp>
      <p:sp>
        <p:nvSpPr>
          <p:cNvPr id="36" name="Rectangle 17"/>
          <p:cNvSpPr/>
          <p:nvPr/>
        </p:nvSpPr>
        <p:spPr bwMode="auto">
          <a:xfrm>
            <a:off x="8139112" y="0"/>
            <a:ext cx="1004886" cy="171450"/>
          </a:xfrm>
          <a:custGeom>
            <a:avLst/>
            <a:gdLst>
              <a:gd name="connsiteX0" fmla="*/ 99233 w 1004886"/>
              <a:gd name="connsiteY0" fmla="*/ 0 h 171450"/>
              <a:gd name="connsiteX1" fmla="*/ 456246 w 1004886"/>
              <a:gd name="connsiteY1" fmla="*/ 0 h 171450"/>
              <a:gd name="connsiteX2" fmla="*/ 496998 w 1004886"/>
              <a:gd name="connsiteY2" fmla="*/ 0 h 171450"/>
              <a:gd name="connsiteX3" fmla="*/ 828773 w 1004886"/>
              <a:gd name="connsiteY3" fmla="*/ 0 h 171450"/>
              <a:gd name="connsiteX4" fmla="*/ 1004886 w 1004886"/>
              <a:gd name="connsiteY4" fmla="*/ 0 h 171450"/>
              <a:gd name="connsiteX5" fmla="*/ 1004886 w 1004886"/>
              <a:gd name="connsiteY5" fmla="*/ 171450 h 171450"/>
              <a:gd name="connsiteX6" fmla="*/ 729540 w 1004886"/>
              <a:gd name="connsiteY6" fmla="*/ 171450 h 171450"/>
              <a:gd name="connsiteX7" fmla="*/ 555354 w 1004886"/>
              <a:gd name="connsiteY7" fmla="*/ 171450 h 171450"/>
              <a:gd name="connsiteX8" fmla="*/ 539405 w 1004886"/>
              <a:gd name="connsiteY8" fmla="*/ 171450 h 171450"/>
              <a:gd name="connsiteX9" fmla="*/ 464521 w 1004886"/>
              <a:gd name="connsiteY9" fmla="*/ 171450 h 171450"/>
              <a:gd name="connsiteX10" fmla="*/ 0 w 1004886"/>
              <a:gd name="connsiteY10" fmla="*/ 171450 h 171450"/>
              <a:gd name="connsiteX11" fmla="*/ 99233 w 1004886"/>
              <a:gd name="connsiteY11" fmla="*/ 0 h 171450"/>
              <a:gd name="connsiteX0" fmla="*/ 99233 w 1004886"/>
              <a:gd name="connsiteY0" fmla="*/ 0 h 171450"/>
              <a:gd name="connsiteX1" fmla="*/ 456246 w 1004886"/>
              <a:gd name="connsiteY1" fmla="*/ 0 h 171450"/>
              <a:gd name="connsiteX2" fmla="*/ 828773 w 1004886"/>
              <a:gd name="connsiteY2" fmla="*/ 0 h 171450"/>
              <a:gd name="connsiteX3" fmla="*/ 1004886 w 1004886"/>
              <a:gd name="connsiteY3" fmla="*/ 0 h 171450"/>
              <a:gd name="connsiteX4" fmla="*/ 1004886 w 1004886"/>
              <a:gd name="connsiteY4" fmla="*/ 171450 h 171450"/>
              <a:gd name="connsiteX5" fmla="*/ 729540 w 1004886"/>
              <a:gd name="connsiteY5" fmla="*/ 171450 h 171450"/>
              <a:gd name="connsiteX6" fmla="*/ 555354 w 1004886"/>
              <a:gd name="connsiteY6" fmla="*/ 171450 h 171450"/>
              <a:gd name="connsiteX7" fmla="*/ 539405 w 1004886"/>
              <a:gd name="connsiteY7" fmla="*/ 171450 h 171450"/>
              <a:gd name="connsiteX8" fmla="*/ 464521 w 1004886"/>
              <a:gd name="connsiteY8" fmla="*/ 171450 h 171450"/>
              <a:gd name="connsiteX9" fmla="*/ 0 w 1004886"/>
              <a:gd name="connsiteY9" fmla="*/ 171450 h 171450"/>
              <a:gd name="connsiteX10" fmla="*/ 99233 w 1004886"/>
              <a:gd name="connsiteY10" fmla="*/ 0 h 171450"/>
              <a:gd name="connsiteX0" fmla="*/ 99233 w 1004886"/>
              <a:gd name="connsiteY0" fmla="*/ 0 h 171450"/>
              <a:gd name="connsiteX1" fmla="*/ 828773 w 1004886"/>
              <a:gd name="connsiteY1" fmla="*/ 0 h 171450"/>
              <a:gd name="connsiteX2" fmla="*/ 1004886 w 1004886"/>
              <a:gd name="connsiteY2" fmla="*/ 0 h 171450"/>
              <a:gd name="connsiteX3" fmla="*/ 1004886 w 1004886"/>
              <a:gd name="connsiteY3" fmla="*/ 171450 h 171450"/>
              <a:gd name="connsiteX4" fmla="*/ 729540 w 1004886"/>
              <a:gd name="connsiteY4" fmla="*/ 171450 h 171450"/>
              <a:gd name="connsiteX5" fmla="*/ 555354 w 1004886"/>
              <a:gd name="connsiteY5" fmla="*/ 171450 h 171450"/>
              <a:gd name="connsiteX6" fmla="*/ 539405 w 1004886"/>
              <a:gd name="connsiteY6" fmla="*/ 171450 h 171450"/>
              <a:gd name="connsiteX7" fmla="*/ 464521 w 1004886"/>
              <a:gd name="connsiteY7" fmla="*/ 171450 h 171450"/>
              <a:gd name="connsiteX8" fmla="*/ 0 w 1004886"/>
              <a:gd name="connsiteY8" fmla="*/ 171450 h 171450"/>
              <a:gd name="connsiteX9" fmla="*/ 99233 w 1004886"/>
              <a:gd name="connsiteY9" fmla="*/ 0 h 171450"/>
              <a:gd name="connsiteX0" fmla="*/ 99233 w 1004886"/>
              <a:gd name="connsiteY0" fmla="*/ 0 h 171450"/>
              <a:gd name="connsiteX1" fmla="*/ 1004886 w 1004886"/>
              <a:gd name="connsiteY1" fmla="*/ 0 h 171450"/>
              <a:gd name="connsiteX2" fmla="*/ 1004886 w 1004886"/>
              <a:gd name="connsiteY2" fmla="*/ 171450 h 171450"/>
              <a:gd name="connsiteX3" fmla="*/ 729540 w 1004886"/>
              <a:gd name="connsiteY3" fmla="*/ 171450 h 171450"/>
              <a:gd name="connsiteX4" fmla="*/ 555354 w 1004886"/>
              <a:gd name="connsiteY4" fmla="*/ 171450 h 171450"/>
              <a:gd name="connsiteX5" fmla="*/ 539405 w 1004886"/>
              <a:gd name="connsiteY5" fmla="*/ 171450 h 171450"/>
              <a:gd name="connsiteX6" fmla="*/ 464521 w 1004886"/>
              <a:gd name="connsiteY6" fmla="*/ 171450 h 171450"/>
              <a:gd name="connsiteX7" fmla="*/ 0 w 1004886"/>
              <a:gd name="connsiteY7" fmla="*/ 171450 h 171450"/>
              <a:gd name="connsiteX8" fmla="*/ 99233 w 1004886"/>
              <a:gd name="connsiteY8" fmla="*/ 0 h 171450"/>
              <a:gd name="connsiteX0" fmla="*/ 99233 w 1004886"/>
              <a:gd name="connsiteY0" fmla="*/ 0 h 171450"/>
              <a:gd name="connsiteX1" fmla="*/ 1004886 w 1004886"/>
              <a:gd name="connsiteY1" fmla="*/ 0 h 171450"/>
              <a:gd name="connsiteX2" fmla="*/ 1004886 w 1004886"/>
              <a:gd name="connsiteY2" fmla="*/ 171450 h 171450"/>
              <a:gd name="connsiteX3" fmla="*/ 555354 w 1004886"/>
              <a:gd name="connsiteY3" fmla="*/ 171450 h 171450"/>
              <a:gd name="connsiteX4" fmla="*/ 539405 w 1004886"/>
              <a:gd name="connsiteY4" fmla="*/ 171450 h 171450"/>
              <a:gd name="connsiteX5" fmla="*/ 464521 w 1004886"/>
              <a:gd name="connsiteY5" fmla="*/ 171450 h 171450"/>
              <a:gd name="connsiteX6" fmla="*/ 0 w 1004886"/>
              <a:gd name="connsiteY6" fmla="*/ 171450 h 171450"/>
              <a:gd name="connsiteX7" fmla="*/ 99233 w 1004886"/>
              <a:gd name="connsiteY7" fmla="*/ 0 h 171450"/>
              <a:gd name="connsiteX0" fmla="*/ 99233 w 1004886"/>
              <a:gd name="connsiteY0" fmla="*/ 0 h 171450"/>
              <a:gd name="connsiteX1" fmla="*/ 1004886 w 1004886"/>
              <a:gd name="connsiteY1" fmla="*/ 0 h 171450"/>
              <a:gd name="connsiteX2" fmla="*/ 1004886 w 1004886"/>
              <a:gd name="connsiteY2" fmla="*/ 171450 h 171450"/>
              <a:gd name="connsiteX3" fmla="*/ 539405 w 1004886"/>
              <a:gd name="connsiteY3" fmla="*/ 171450 h 171450"/>
              <a:gd name="connsiteX4" fmla="*/ 464521 w 1004886"/>
              <a:gd name="connsiteY4" fmla="*/ 171450 h 171450"/>
              <a:gd name="connsiteX5" fmla="*/ 0 w 1004886"/>
              <a:gd name="connsiteY5" fmla="*/ 171450 h 171450"/>
              <a:gd name="connsiteX6" fmla="*/ 99233 w 1004886"/>
              <a:gd name="connsiteY6" fmla="*/ 0 h 171450"/>
              <a:gd name="connsiteX0" fmla="*/ 99233 w 1004886"/>
              <a:gd name="connsiteY0" fmla="*/ 0 h 171450"/>
              <a:gd name="connsiteX1" fmla="*/ 1004886 w 1004886"/>
              <a:gd name="connsiteY1" fmla="*/ 0 h 171450"/>
              <a:gd name="connsiteX2" fmla="*/ 1004886 w 1004886"/>
              <a:gd name="connsiteY2" fmla="*/ 171450 h 171450"/>
              <a:gd name="connsiteX3" fmla="*/ 464521 w 1004886"/>
              <a:gd name="connsiteY3" fmla="*/ 171450 h 171450"/>
              <a:gd name="connsiteX4" fmla="*/ 0 w 1004886"/>
              <a:gd name="connsiteY4" fmla="*/ 171450 h 171450"/>
              <a:gd name="connsiteX5" fmla="*/ 99233 w 1004886"/>
              <a:gd name="connsiteY5" fmla="*/ 0 h 171450"/>
              <a:gd name="connsiteX0" fmla="*/ 99233 w 1004886"/>
              <a:gd name="connsiteY0" fmla="*/ 0 h 171450"/>
              <a:gd name="connsiteX1" fmla="*/ 1004886 w 1004886"/>
              <a:gd name="connsiteY1" fmla="*/ 0 h 171450"/>
              <a:gd name="connsiteX2" fmla="*/ 1004886 w 1004886"/>
              <a:gd name="connsiteY2" fmla="*/ 171450 h 171450"/>
              <a:gd name="connsiteX3" fmla="*/ 0 w 1004886"/>
              <a:gd name="connsiteY3" fmla="*/ 171450 h 171450"/>
              <a:gd name="connsiteX4" fmla="*/ 99233 w 1004886"/>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86" h="171450">
                <a:moveTo>
                  <a:pt x="99233" y="0"/>
                </a:moveTo>
                <a:lnTo>
                  <a:pt x="1004886" y="0"/>
                </a:lnTo>
                <a:lnTo>
                  <a:pt x="1004886" y="171450"/>
                </a:lnTo>
                <a:lnTo>
                  <a:pt x="0" y="171450"/>
                </a:lnTo>
                <a:lnTo>
                  <a:pt x="99233" y="0"/>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38775800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7" r:id="rId23"/>
    <p:sldLayoutId id="2147483698" r:id="rId24"/>
    <p:sldLayoutId id="2147483699"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rtl="0" eaLnBrk="1" fontAlgn="base" hangingPunct="1">
        <a:lnSpc>
          <a:spcPct val="80000"/>
        </a:lnSpc>
        <a:spcBef>
          <a:spcPct val="0"/>
        </a:spcBef>
        <a:spcAft>
          <a:spcPct val="0"/>
        </a:spcAft>
        <a:defRPr sz="2800" b="0" kern="1200">
          <a:solidFill>
            <a:schemeClr val="tx1"/>
          </a:solidFill>
          <a:latin typeface="+mj-lt"/>
          <a:ea typeface="+mj-ea"/>
          <a:cs typeface="+mj-cs"/>
        </a:defRPr>
      </a:lvl1pPr>
      <a:lvl2pPr algn="l" rtl="0" eaLnBrk="1" fontAlgn="base" hangingPunct="1">
        <a:lnSpc>
          <a:spcPct val="80000"/>
        </a:lnSpc>
        <a:spcBef>
          <a:spcPct val="0"/>
        </a:spcBef>
        <a:spcAft>
          <a:spcPct val="0"/>
        </a:spcAft>
        <a:defRPr sz="3600" b="1">
          <a:solidFill>
            <a:schemeClr val="tx2"/>
          </a:solidFill>
          <a:latin typeface="Oslo" pitchFamily="34" charset="0"/>
        </a:defRPr>
      </a:lvl2pPr>
      <a:lvl3pPr algn="l" rtl="0" eaLnBrk="1" fontAlgn="base" hangingPunct="1">
        <a:lnSpc>
          <a:spcPct val="80000"/>
        </a:lnSpc>
        <a:spcBef>
          <a:spcPct val="0"/>
        </a:spcBef>
        <a:spcAft>
          <a:spcPct val="0"/>
        </a:spcAft>
        <a:defRPr sz="3600" b="1">
          <a:solidFill>
            <a:schemeClr val="tx2"/>
          </a:solidFill>
          <a:latin typeface="Oslo" pitchFamily="34" charset="0"/>
        </a:defRPr>
      </a:lvl3pPr>
      <a:lvl4pPr algn="l" rtl="0" eaLnBrk="1" fontAlgn="base" hangingPunct="1">
        <a:lnSpc>
          <a:spcPct val="80000"/>
        </a:lnSpc>
        <a:spcBef>
          <a:spcPct val="0"/>
        </a:spcBef>
        <a:spcAft>
          <a:spcPct val="0"/>
        </a:spcAft>
        <a:defRPr sz="3600" b="1">
          <a:solidFill>
            <a:schemeClr val="tx2"/>
          </a:solidFill>
          <a:latin typeface="Oslo" pitchFamily="34" charset="0"/>
        </a:defRPr>
      </a:lvl4pPr>
      <a:lvl5pPr algn="l" rtl="0" eaLnBrk="1" fontAlgn="base" hangingPunct="1">
        <a:lnSpc>
          <a:spcPct val="80000"/>
        </a:lnSpc>
        <a:spcBef>
          <a:spcPct val="0"/>
        </a:spcBef>
        <a:spcAft>
          <a:spcPct val="0"/>
        </a:spcAft>
        <a:defRPr sz="3600" b="1">
          <a:solidFill>
            <a:schemeClr val="tx2"/>
          </a:solidFill>
          <a:latin typeface="Oslo" pitchFamily="34" charset="0"/>
        </a:defRPr>
      </a:lvl5pPr>
      <a:lvl6pPr marL="457200" algn="l" rtl="0" eaLnBrk="1" fontAlgn="base" hangingPunct="1">
        <a:lnSpc>
          <a:spcPct val="80000"/>
        </a:lnSpc>
        <a:spcBef>
          <a:spcPct val="0"/>
        </a:spcBef>
        <a:spcAft>
          <a:spcPct val="0"/>
        </a:spcAft>
        <a:defRPr sz="3600" b="1">
          <a:solidFill>
            <a:schemeClr val="tx2"/>
          </a:solidFill>
          <a:latin typeface="Oslo" pitchFamily="34" charset="0"/>
        </a:defRPr>
      </a:lvl6pPr>
      <a:lvl7pPr marL="914400" algn="l" rtl="0" eaLnBrk="1" fontAlgn="base" hangingPunct="1">
        <a:lnSpc>
          <a:spcPct val="80000"/>
        </a:lnSpc>
        <a:spcBef>
          <a:spcPct val="0"/>
        </a:spcBef>
        <a:spcAft>
          <a:spcPct val="0"/>
        </a:spcAft>
        <a:defRPr sz="3600" b="1">
          <a:solidFill>
            <a:schemeClr val="tx2"/>
          </a:solidFill>
          <a:latin typeface="Oslo" pitchFamily="34" charset="0"/>
        </a:defRPr>
      </a:lvl7pPr>
      <a:lvl8pPr marL="1371600" algn="l" rtl="0" eaLnBrk="1" fontAlgn="base" hangingPunct="1">
        <a:lnSpc>
          <a:spcPct val="80000"/>
        </a:lnSpc>
        <a:spcBef>
          <a:spcPct val="0"/>
        </a:spcBef>
        <a:spcAft>
          <a:spcPct val="0"/>
        </a:spcAft>
        <a:defRPr sz="3600" b="1">
          <a:solidFill>
            <a:schemeClr val="tx2"/>
          </a:solidFill>
          <a:latin typeface="Oslo" pitchFamily="34" charset="0"/>
        </a:defRPr>
      </a:lvl8pPr>
      <a:lvl9pPr marL="1828800" algn="l" rtl="0" eaLnBrk="1" fontAlgn="base" hangingPunct="1">
        <a:lnSpc>
          <a:spcPct val="80000"/>
        </a:lnSpc>
        <a:spcBef>
          <a:spcPct val="0"/>
        </a:spcBef>
        <a:spcAft>
          <a:spcPct val="0"/>
        </a:spcAft>
        <a:defRPr sz="3600" b="1">
          <a:solidFill>
            <a:schemeClr val="tx2"/>
          </a:solidFill>
          <a:latin typeface="Oslo" pitchFamily="34" charset="0"/>
        </a:defRPr>
      </a:lvl9pPr>
    </p:titleStyle>
    <p:bodyStyle>
      <a:lvl1pPr marL="173038" indent="-173038" algn="l" rtl="0" eaLnBrk="1" fontAlgn="base" hangingPunct="1">
        <a:spcBef>
          <a:spcPts val="1200"/>
        </a:spcBef>
        <a:spcAft>
          <a:spcPct val="0"/>
        </a:spcAft>
        <a:buClr>
          <a:schemeClr val="accent1"/>
        </a:buClr>
        <a:buSzPct val="100000"/>
        <a:buFont typeface="Arial" panose="020B0604020202020204" pitchFamily="34" charset="0"/>
        <a:buChar char="•"/>
        <a:defRPr sz="1800" b="0" kern="1200">
          <a:solidFill>
            <a:schemeClr val="accent1"/>
          </a:solidFill>
          <a:latin typeface="+mn-lt"/>
          <a:ea typeface="+mn-ea"/>
          <a:cs typeface="+mn-cs"/>
        </a:defRPr>
      </a:lvl1pPr>
      <a:lvl2pPr marL="457200" indent="-223838" algn="l" rtl="0" eaLnBrk="1" fontAlgn="base" hangingPunct="1">
        <a:spcBef>
          <a:spcPts val="0"/>
        </a:spcBef>
        <a:spcAft>
          <a:spcPts val="400"/>
        </a:spcAft>
        <a:buClr>
          <a:schemeClr val="accent1"/>
        </a:buClr>
        <a:buSzPct val="100000"/>
        <a:buFont typeface="Arial" panose="020B0604020202020204" pitchFamily="34" charset="0"/>
        <a:buChar char="–"/>
        <a:defRPr sz="1600" kern="1200">
          <a:solidFill>
            <a:schemeClr val="tx1"/>
          </a:solidFill>
          <a:latin typeface="+mn-lt"/>
          <a:ea typeface="+mn-ea"/>
          <a:cs typeface="+mn-cs"/>
        </a:defRPr>
      </a:lvl2pPr>
      <a:lvl3pPr marL="690563" indent="-233363" algn="l" rtl="0" eaLnBrk="1" fontAlgn="base" hangingPunct="1">
        <a:spcBef>
          <a:spcPts val="0"/>
        </a:spcBef>
        <a:spcAft>
          <a:spcPts val="200"/>
        </a:spcAft>
        <a:buClr>
          <a:schemeClr val="accent1"/>
        </a:buClr>
        <a:buSzPct val="100000"/>
        <a:buFont typeface="Arial" panose="020B0604020202020204" pitchFamily="34" charset="0"/>
        <a:buChar char="»"/>
        <a:defRPr sz="1600" kern="1200">
          <a:solidFill>
            <a:schemeClr val="tx1"/>
          </a:solidFill>
          <a:latin typeface="+mn-lt"/>
          <a:ea typeface="+mn-ea"/>
          <a:cs typeface="+mn-cs"/>
        </a:defRPr>
      </a:lvl3pPr>
      <a:lvl4pPr marL="914400" indent="-223838" algn="l" rtl="0" eaLnBrk="1" fontAlgn="base" hangingPunct="1">
        <a:spcBef>
          <a:spcPts val="0"/>
        </a:spcBef>
        <a:spcAft>
          <a:spcPts val="300"/>
        </a:spcAft>
        <a:buClr>
          <a:schemeClr val="accent1"/>
        </a:buClr>
        <a:buSzPct val="100000"/>
        <a:buFont typeface="Arial" panose="020B0604020202020204" pitchFamily="34" charset="0"/>
        <a:buChar char="•"/>
        <a:defRPr sz="1400" kern="1200">
          <a:solidFill>
            <a:schemeClr val="tx1"/>
          </a:solidFill>
          <a:latin typeface="+mn-lt"/>
          <a:ea typeface="+mn-ea"/>
          <a:cs typeface="+mn-cs"/>
        </a:defRPr>
      </a:lvl4pPr>
      <a:lvl5pPr marL="1147763" indent="-233363" algn="l" rtl="0" eaLnBrk="1" fontAlgn="base" hangingPunct="1">
        <a:spcBef>
          <a:spcPts val="0"/>
        </a:spcBef>
        <a:spcAft>
          <a:spcPts val="300"/>
        </a:spcAft>
        <a:buClr>
          <a:schemeClr val="accent1"/>
        </a:buClr>
        <a:buSzPct val="100000"/>
        <a:buFont typeface="Arial" panose="020B0604020202020204" pitchFamily="34" charset="0"/>
        <a:buChar char="–"/>
        <a:defRPr sz="1400" kern="1200">
          <a:solidFill>
            <a:schemeClr val="tx1"/>
          </a:solidFill>
          <a:latin typeface="+mn-lt"/>
          <a:ea typeface="+mn-ea"/>
          <a:cs typeface="+mn-cs"/>
        </a:defRPr>
      </a:lvl5pPr>
      <a:lvl6pPr marL="1168400" indent="-177800" algn="l" defTabSz="914400" rtl="0" eaLnBrk="1" latinLnBrk="0" hangingPunct="1">
        <a:spcBef>
          <a:spcPct val="20000"/>
        </a:spcBef>
        <a:buClr>
          <a:schemeClr val="accent2"/>
        </a:buClr>
        <a:buSzPct val="100000"/>
        <a:buFont typeface="Oslo" pitchFamily="34" charset="0"/>
        <a:buChar char="–"/>
        <a:defRPr sz="1400" kern="1200" baseline="0">
          <a:solidFill>
            <a:schemeClr val="tx1"/>
          </a:solidFill>
          <a:latin typeface="+mn-lt"/>
          <a:ea typeface="+mn-ea"/>
          <a:cs typeface="+mn-cs"/>
        </a:defRPr>
      </a:lvl6pPr>
      <a:lvl7pPr marL="1312863" indent="-144463" algn="l" defTabSz="914400" rtl="0" eaLnBrk="1" latinLnBrk="0" hangingPunct="1">
        <a:spcBef>
          <a:spcPct val="20000"/>
        </a:spcBef>
        <a:buClr>
          <a:schemeClr val="accent2"/>
        </a:buClr>
        <a:buSzPct val="100000"/>
        <a:buFont typeface="Arial" pitchFamily="34" charset="0"/>
        <a:buChar char="•"/>
        <a:defRPr sz="1400" kern="1200" baseline="0">
          <a:solidFill>
            <a:schemeClr val="tx1"/>
          </a:solidFill>
          <a:latin typeface="+mn-lt"/>
          <a:ea typeface="+mn-ea"/>
          <a:cs typeface="+mn-cs"/>
        </a:defRPr>
      </a:lvl7pPr>
      <a:lvl8pPr marL="1481138" indent="-160338" algn="l" defTabSz="914400" rtl="0" eaLnBrk="1" latinLnBrk="0" hangingPunct="1">
        <a:spcBef>
          <a:spcPct val="20000"/>
        </a:spcBef>
        <a:buClr>
          <a:schemeClr val="accent2"/>
        </a:buClr>
        <a:buSzPct val="100000"/>
        <a:buFont typeface="Oslo" pitchFamily="34" charset="0"/>
        <a:buChar char="–"/>
        <a:defRPr sz="1400" kern="1200" baseline="0">
          <a:solidFill>
            <a:schemeClr val="tx1"/>
          </a:solidFill>
          <a:latin typeface="+mn-lt"/>
          <a:ea typeface="+mn-ea"/>
          <a:cs typeface="+mn-cs"/>
        </a:defRPr>
      </a:lvl8pPr>
      <a:lvl9pPr marL="1490663" indent="0" algn="l" defTabSz="914400" rtl="0" eaLnBrk="1" latinLnBrk="0" hangingPunct="1">
        <a:spcBef>
          <a:spcPct val="20000"/>
        </a:spcBef>
        <a:buClr>
          <a:schemeClr val="accent2"/>
        </a:buClr>
        <a:buSzPct val="100000"/>
        <a:buFont typeface="Arial" pitchFamily="34" charset="0"/>
        <a:buNone/>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1" name="Group 50"/>
          <p:cNvGrpSpPr>
            <a:grpSpLocks noChangeAspect="1"/>
          </p:cNvGrpSpPr>
          <p:nvPr/>
        </p:nvGrpSpPr>
        <p:grpSpPr>
          <a:xfrm>
            <a:off x="374651" y="6431112"/>
            <a:ext cx="1673352" cy="328463"/>
            <a:chOff x="374651" y="6029325"/>
            <a:chExt cx="2054224" cy="403225"/>
          </a:xfrm>
        </p:grpSpPr>
        <p:sp>
          <p:nvSpPr>
            <p:cNvPr id="52"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3"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4" name="Freeform 53"/>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5" name="Freeform 54"/>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6" name="Freeform 55"/>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7" name="Freeform 56"/>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8" name="Freeform 57"/>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9" name="Freeform 58"/>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0"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1"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2"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3"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4"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5"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6"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7"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8"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graphicFrame>
        <p:nvGraphicFramePr>
          <p:cNvPr id="2" name="Object 1" hidden="1"/>
          <p:cNvGraphicFramePr>
            <a:graphicFrameLocks noChangeAspect="1"/>
          </p:cNvGraphicFramePr>
          <p:nvPr>
            <p:custDataLst>
              <p:tags r:id="rId28"/>
            </p:custDataLst>
            <p:extLst>
              <p:ext uri="{D42A27DB-BD31-4B8C-83A1-F6EECF244321}">
                <p14:modId xmlns:p14="http://schemas.microsoft.com/office/powerpoint/2010/main" val="18723207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7"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1030" name="Title Placeholder 1"/>
          <p:cNvSpPr>
            <a:spLocks noGrp="1"/>
          </p:cNvSpPr>
          <p:nvPr>
            <p:ph type="title"/>
          </p:nvPr>
        </p:nvSpPr>
        <p:spPr bwMode="auto">
          <a:xfrm>
            <a:off x="363538" y="279495"/>
            <a:ext cx="8432800" cy="689420"/>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noProof="0" dirty="0"/>
              <a:t>Headline – Arial 36pt Bold</a:t>
            </a:r>
            <a:br>
              <a:rPr lang="en-US" noProof="0" dirty="0"/>
            </a:br>
            <a:r>
              <a:rPr lang="en-US" noProof="0" dirty="0"/>
              <a:t>Space for 2 lines</a:t>
            </a:r>
          </a:p>
        </p:txBody>
      </p:sp>
      <p:sp>
        <p:nvSpPr>
          <p:cNvPr id="3" name="Text Placeholder 2"/>
          <p:cNvSpPr>
            <a:spLocks noGrp="1"/>
          </p:cNvSpPr>
          <p:nvPr>
            <p:ph type="body" idx="1"/>
          </p:nvPr>
        </p:nvSpPr>
        <p:spPr>
          <a:xfrm>
            <a:off x="363538" y="1073150"/>
            <a:ext cx="8432800" cy="5285741"/>
          </a:xfrm>
          <a:prstGeom prst="rect">
            <a:avLst/>
          </a:prstGeom>
        </p:spPr>
        <p:txBody>
          <a:bodyPr vert="horz" lIns="0" tIns="0" rIns="0" bIns="0" rtlCol="0">
            <a:noAutofit/>
          </a:bodyPr>
          <a:lstStyle/>
          <a:p>
            <a:pPr lvl="0"/>
            <a:r>
              <a:rPr lang="en-US" noProof="0" dirty="0"/>
              <a:t>First level – 18pt</a:t>
            </a:r>
          </a:p>
          <a:p>
            <a:pPr lvl="1"/>
            <a:r>
              <a:rPr lang="en-US" noProof="0" dirty="0"/>
              <a:t>Second level – 16pt</a:t>
            </a:r>
          </a:p>
          <a:p>
            <a:pPr lvl="2"/>
            <a:r>
              <a:rPr lang="en-US" noProof="0" dirty="0"/>
              <a:t>Third level – 16pt</a:t>
            </a:r>
          </a:p>
          <a:p>
            <a:pPr lvl="3"/>
            <a:r>
              <a:rPr lang="en-US" noProof="0" dirty="0"/>
              <a:t>Fourth level – 14pt</a:t>
            </a:r>
          </a:p>
          <a:p>
            <a:pPr lvl="4"/>
            <a:r>
              <a:rPr lang="en-US" noProof="0" dirty="0"/>
              <a:t>Fifth level – 14pt</a:t>
            </a:r>
          </a:p>
        </p:txBody>
      </p:sp>
      <p:sp>
        <p:nvSpPr>
          <p:cNvPr id="21" name="TextBox 20"/>
          <p:cNvSpPr txBox="1"/>
          <p:nvPr/>
        </p:nvSpPr>
        <p:spPr>
          <a:xfrm>
            <a:off x="3214688" y="6517547"/>
            <a:ext cx="2743200" cy="230832"/>
          </a:xfrm>
          <a:prstGeom prst="rect">
            <a:avLst/>
          </a:prstGeom>
          <a:noFill/>
        </p:spPr>
        <p:txBody>
          <a:bodyPr anchor="b">
            <a:spAutoFit/>
          </a:bodyPr>
          <a:lstStyle/>
          <a:p>
            <a:pPr algn="ctr" fontAlgn="auto">
              <a:spcBef>
                <a:spcPts val="0"/>
              </a:spcBef>
              <a:spcAft>
                <a:spcPts val="0"/>
              </a:spcAft>
              <a:defRPr/>
            </a:pPr>
            <a:r>
              <a:rPr lang="en-US" sz="900" kern="0" dirty="0">
                <a:solidFill>
                  <a:srgbClr val="38454F">
                    <a:lumMod val="60000"/>
                    <a:lumOff val="40000"/>
                  </a:srgbClr>
                </a:solidFill>
                <a:latin typeface="Oslo" pitchFamily="34" charset="0"/>
              </a:rPr>
              <a:t>COMPANY CONFIDENTIAL</a:t>
            </a:r>
          </a:p>
        </p:txBody>
      </p:sp>
      <p:sp>
        <p:nvSpPr>
          <p:cNvPr id="23" name="Date Placeholder 3"/>
          <p:cNvSpPr>
            <a:spLocks noGrp="1" noChangeAspect="1"/>
          </p:cNvSpPr>
          <p:nvPr>
            <p:ph type="dt" sz="half" idx="2"/>
          </p:nvPr>
        </p:nvSpPr>
        <p:spPr>
          <a:xfrm>
            <a:off x="7428667" y="6389441"/>
            <a:ext cx="910116" cy="365125"/>
          </a:xfrm>
          <a:prstGeom prst="rect">
            <a:avLst/>
          </a:prstGeom>
        </p:spPr>
        <p:txBody>
          <a:bodyPr vert="horz" lIns="91440" tIns="45720" rIns="91440" bIns="45720" rtlCol="0" anchor="b"/>
          <a:lstStyle>
            <a:lvl1pPr algn="r" fontAlgn="auto">
              <a:spcBef>
                <a:spcPts val="0"/>
              </a:spcBef>
              <a:spcAft>
                <a:spcPts val="0"/>
              </a:spcAft>
              <a:defRPr sz="1000" smtClean="0">
                <a:solidFill>
                  <a:schemeClr val="tx1"/>
                </a:solidFill>
                <a:latin typeface="Oslo" pitchFamily="34" charset="0"/>
              </a:defRPr>
            </a:lvl1pPr>
          </a:lstStyle>
          <a:p>
            <a:pPr>
              <a:defRPr/>
            </a:pPr>
            <a:endParaRPr lang="en-US" dirty="0">
              <a:solidFill>
                <a:srgbClr val="38454F"/>
              </a:solidFill>
            </a:endParaRPr>
          </a:p>
        </p:txBody>
      </p:sp>
      <p:sp>
        <p:nvSpPr>
          <p:cNvPr id="24" name="Slide Number Placeholder 5"/>
          <p:cNvSpPr>
            <a:spLocks noGrp="1" noChangeAspect="1"/>
          </p:cNvSpPr>
          <p:nvPr>
            <p:ph type="sldNum" sz="quarter" idx="4"/>
          </p:nvPr>
        </p:nvSpPr>
        <p:spPr>
          <a:xfrm>
            <a:off x="8353940" y="6389441"/>
            <a:ext cx="523875" cy="365125"/>
          </a:xfrm>
          <a:prstGeom prst="rect">
            <a:avLst/>
          </a:prstGeom>
        </p:spPr>
        <p:txBody>
          <a:bodyPr vert="horz" lIns="91440" tIns="45720" rIns="91440" bIns="45720" rtlCol="0" anchor="b"/>
          <a:lstStyle>
            <a:lvl1pPr algn="r" fontAlgn="auto">
              <a:spcBef>
                <a:spcPts val="0"/>
              </a:spcBef>
              <a:spcAft>
                <a:spcPts val="0"/>
              </a:spcAft>
              <a:defRPr sz="1000" smtClean="0">
                <a:solidFill>
                  <a:schemeClr val="tx1"/>
                </a:solidFill>
                <a:latin typeface="Oslo" pitchFamily="34" charset="0"/>
              </a:defRPr>
            </a:lvl1pPr>
          </a:lstStyle>
          <a:p>
            <a:pPr>
              <a:defRPr/>
            </a:pPr>
            <a:fld id="{91D03FF3-2B9E-4617-A592-48F56EC63E6E}" type="slidenum">
              <a:rPr lang="en-US">
                <a:solidFill>
                  <a:srgbClr val="38454F"/>
                </a:solidFill>
              </a:rPr>
              <a:pPr>
                <a:defRPr/>
              </a:pPr>
              <a:t>‹#›</a:t>
            </a:fld>
            <a:endParaRPr lang="en-US" dirty="0">
              <a:solidFill>
                <a:srgbClr val="38454F"/>
              </a:solidFill>
            </a:endParaRPr>
          </a:p>
        </p:txBody>
      </p:sp>
      <p:sp>
        <p:nvSpPr>
          <p:cNvPr id="32" name="Rectangle 17"/>
          <p:cNvSpPr/>
          <p:nvPr/>
        </p:nvSpPr>
        <p:spPr bwMode="auto">
          <a:xfrm>
            <a:off x="6409826" y="0"/>
            <a:ext cx="828773" cy="171450"/>
          </a:xfrm>
          <a:custGeom>
            <a:avLst/>
            <a:gdLst/>
            <a:ahLst/>
            <a:cxnLst/>
            <a:rect l="l" t="t" r="r" b="b"/>
            <a:pathLst>
              <a:path w="828773" h="171450">
                <a:moveTo>
                  <a:pt x="99233" y="0"/>
                </a:moveTo>
                <a:lnTo>
                  <a:pt x="828773" y="0"/>
                </a:lnTo>
                <a:lnTo>
                  <a:pt x="729540" y="171450"/>
                </a:lnTo>
                <a:lnTo>
                  <a:pt x="0" y="171450"/>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37" name="Rectangle 17"/>
          <p:cNvSpPr/>
          <p:nvPr/>
        </p:nvSpPr>
        <p:spPr bwMode="auto">
          <a:xfrm>
            <a:off x="0" y="0"/>
            <a:ext cx="6579109" cy="171450"/>
          </a:xfrm>
          <a:custGeom>
            <a:avLst/>
            <a:gdLst/>
            <a:ahLst/>
            <a:cxnLst/>
            <a:rect l="l" t="t" r="r" b="b"/>
            <a:pathLst>
              <a:path w="6579109" h="171450">
                <a:moveTo>
                  <a:pt x="0" y="0"/>
                </a:moveTo>
                <a:lnTo>
                  <a:pt x="5390641" y="0"/>
                </a:lnTo>
                <a:lnTo>
                  <a:pt x="6090420" y="0"/>
                </a:lnTo>
                <a:lnTo>
                  <a:pt x="6579109" y="0"/>
                </a:lnTo>
                <a:lnTo>
                  <a:pt x="6479876" y="171450"/>
                </a:lnTo>
                <a:lnTo>
                  <a:pt x="5581891" y="171450"/>
                </a:lnTo>
                <a:lnTo>
                  <a:pt x="5390641" y="171450"/>
                </a:lnTo>
                <a:lnTo>
                  <a:pt x="0" y="171450"/>
                </a:lnTo>
                <a:close/>
              </a:path>
            </a:pathLst>
          </a:cu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38" name="Rectangle 17"/>
          <p:cNvSpPr/>
          <p:nvPr/>
        </p:nvSpPr>
        <p:spPr bwMode="auto">
          <a:xfrm>
            <a:off x="7092280" y="0"/>
            <a:ext cx="2051718" cy="171450"/>
          </a:xfrm>
          <a:custGeom>
            <a:avLst/>
            <a:gdLst/>
            <a:ahLst/>
            <a:cxnLst/>
            <a:rect l="l" t="t" r="r" b="b"/>
            <a:pathLst>
              <a:path w="2051718" h="171450">
                <a:moveTo>
                  <a:pt x="99233" y="0"/>
                </a:moveTo>
                <a:lnTo>
                  <a:pt x="675297" y="0"/>
                </a:lnTo>
                <a:lnTo>
                  <a:pt x="828773" y="0"/>
                </a:lnTo>
                <a:lnTo>
                  <a:pt x="1146065" y="0"/>
                </a:lnTo>
                <a:lnTo>
                  <a:pt x="1404837" y="0"/>
                </a:lnTo>
                <a:lnTo>
                  <a:pt x="2051718" y="0"/>
                </a:lnTo>
                <a:lnTo>
                  <a:pt x="2051718" y="171450"/>
                </a:lnTo>
                <a:lnTo>
                  <a:pt x="1305604" y="171450"/>
                </a:lnTo>
                <a:lnTo>
                  <a:pt x="1046832" y="171450"/>
                </a:lnTo>
                <a:lnTo>
                  <a:pt x="576064" y="171450"/>
                </a:lnTo>
                <a:lnTo>
                  <a:pt x="576064" y="171450"/>
                </a:lnTo>
                <a:lnTo>
                  <a:pt x="0" y="171450"/>
                </a:lnTo>
                <a:close/>
              </a:path>
            </a:pathLst>
          </a:custGeom>
          <a:solidFill>
            <a:schemeClr val="accent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39" name="Rectangle 17"/>
          <p:cNvSpPr/>
          <p:nvPr/>
        </p:nvSpPr>
        <p:spPr bwMode="auto">
          <a:xfrm>
            <a:off x="0" y="0"/>
            <a:ext cx="1188468" cy="171450"/>
          </a:xfrm>
          <a:custGeom>
            <a:avLst/>
            <a:gdLst>
              <a:gd name="connsiteX0" fmla="*/ 0 w 1188468"/>
              <a:gd name="connsiteY0" fmla="*/ 0 h 171450"/>
              <a:gd name="connsiteX1" fmla="*/ 336134 w 1188468"/>
              <a:gd name="connsiteY1" fmla="*/ 0 h 171450"/>
              <a:gd name="connsiteX2" fmla="*/ 1188468 w 1188468"/>
              <a:gd name="connsiteY2" fmla="*/ 0 h 171450"/>
              <a:gd name="connsiteX3" fmla="*/ 1168375 w 1188468"/>
              <a:gd name="connsiteY3" fmla="*/ 34787 h 171450"/>
              <a:gd name="connsiteX4" fmla="*/ 1089235 w 1188468"/>
              <a:gd name="connsiteY4" fmla="*/ 171450 h 171450"/>
              <a:gd name="connsiteX5" fmla="*/ 816864 w 1188468"/>
              <a:gd name="connsiteY5" fmla="*/ 171450 h 171450"/>
              <a:gd name="connsiteX6" fmla="*/ 237145 w 1188468"/>
              <a:gd name="connsiteY6" fmla="*/ 171450 h 171450"/>
              <a:gd name="connsiteX7" fmla="*/ 0 w 1188468"/>
              <a:gd name="connsiteY7" fmla="*/ 171450 h 171450"/>
              <a:gd name="connsiteX8" fmla="*/ 0 w 1188468"/>
              <a:gd name="connsiteY8" fmla="*/ 0 h 171450"/>
              <a:gd name="connsiteX0" fmla="*/ 0 w 1188468"/>
              <a:gd name="connsiteY0" fmla="*/ 0 h 171450"/>
              <a:gd name="connsiteX1" fmla="*/ 336134 w 1188468"/>
              <a:gd name="connsiteY1" fmla="*/ 0 h 171450"/>
              <a:gd name="connsiteX2" fmla="*/ 1188468 w 1188468"/>
              <a:gd name="connsiteY2" fmla="*/ 0 h 171450"/>
              <a:gd name="connsiteX3" fmla="*/ 1089235 w 1188468"/>
              <a:gd name="connsiteY3" fmla="*/ 171450 h 171450"/>
              <a:gd name="connsiteX4" fmla="*/ 816864 w 1188468"/>
              <a:gd name="connsiteY4" fmla="*/ 171450 h 171450"/>
              <a:gd name="connsiteX5" fmla="*/ 237145 w 1188468"/>
              <a:gd name="connsiteY5" fmla="*/ 171450 h 171450"/>
              <a:gd name="connsiteX6" fmla="*/ 0 w 1188468"/>
              <a:gd name="connsiteY6" fmla="*/ 171450 h 171450"/>
              <a:gd name="connsiteX7" fmla="*/ 0 w 1188468"/>
              <a:gd name="connsiteY7" fmla="*/ 0 h 171450"/>
              <a:gd name="connsiteX0" fmla="*/ 0 w 1188468"/>
              <a:gd name="connsiteY0" fmla="*/ 0 h 171450"/>
              <a:gd name="connsiteX1" fmla="*/ 336134 w 1188468"/>
              <a:gd name="connsiteY1" fmla="*/ 0 h 171450"/>
              <a:gd name="connsiteX2" fmla="*/ 1188468 w 1188468"/>
              <a:gd name="connsiteY2" fmla="*/ 0 h 171450"/>
              <a:gd name="connsiteX3" fmla="*/ 1089235 w 1188468"/>
              <a:gd name="connsiteY3" fmla="*/ 171450 h 171450"/>
              <a:gd name="connsiteX4" fmla="*/ 237145 w 1188468"/>
              <a:gd name="connsiteY4" fmla="*/ 171450 h 171450"/>
              <a:gd name="connsiteX5" fmla="*/ 0 w 1188468"/>
              <a:gd name="connsiteY5" fmla="*/ 171450 h 171450"/>
              <a:gd name="connsiteX6" fmla="*/ 0 w 1188468"/>
              <a:gd name="connsiteY6" fmla="*/ 0 h 171450"/>
              <a:gd name="connsiteX0" fmla="*/ 0 w 1188468"/>
              <a:gd name="connsiteY0" fmla="*/ 0 h 171450"/>
              <a:gd name="connsiteX1" fmla="*/ 1188468 w 1188468"/>
              <a:gd name="connsiteY1" fmla="*/ 0 h 171450"/>
              <a:gd name="connsiteX2" fmla="*/ 1089235 w 1188468"/>
              <a:gd name="connsiteY2" fmla="*/ 171450 h 171450"/>
              <a:gd name="connsiteX3" fmla="*/ 237145 w 1188468"/>
              <a:gd name="connsiteY3" fmla="*/ 171450 h 171450"/>
              <a:gd name="connsiteX4" fmla="*/ 0 w 1188468"/>
              <a:gd name="connsiteY4" fmla="*/ 171450 h 171450"/>
              <a:gd name="connsiteX5" fmla="*/ 0 w 1188468"/>
              <a:gd name="connsiteY5" fmla="*/ 0 h 171450"/>
              <a:gd name="connsiteX0" fmla="*/ 0 w 1188468"/>
              <a:gd name="connsiteY0" fmla="*/ 0 h 171450"/>
              <a:gd name="connsiteX1" fmla="*/ 1188468 w 1188468"/>
              <a:gd name="connsiteY1" fmla="*/ 0 h 171450"/>
              <a:gd name="connsiteX2" fmla="*/ 1089235 w 1188468"/>
              <a:gd name="connsiteY2" fmla="*/ 171450 h 171450"/>
              <a:gd name="connsiteX3" fmla="*/ 0 w 1188468"/>
              <a:gd name="connsiteY3" fmla="*/ 171450 h 171450"/>
              <a:gd name="connsiteX4" fmla="*/ 0 w 1188468"/>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468" h="171450">
                <a:moveTo>
                  <a:pt x="0" y="0"/>
                </a:moveTo>
                <a:lnTo>
                  <a:pt x="1188468" y="0"/>
                </a:lnTo>
                <a:lnTo>
                  <a:pt x="1089235" y="171450"/>
                </a:lnTo>
                <a:lnTo>
                  <a:pt x="0" y="171450"/>
                </a:lnTo>
                <a:lnTo>
                  <a:pt x="0" y="0"/>
                </a:lnTo>
                <a:close/>
              </a:path>
            </a:pathLst>
          </a:custGeom>
          <a:solidFill>
            <a:schemeClr val="bg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40" name="Rectangle 17"/>
          <p:cNvSpPr/>
          <p:nvPr/>
        </p:nvSpPr>
        <p:spPr bwMode="auto">
          <a:xfrm>
            <a:off x="8139112" y="0"/>
            <a:ext cx="1004886" cy="171450"/>
          </a:xfrm>
          <a:custGeom>
            <a:avLst/>
            <a:gdLst>
              <a:gd name="connsiteX0" fmla="*/ 99233 w 1004886"/>
              <a:gd name="connsiteY0" fmla="*/ 0 h 171450"/>
              <a:gd name="connsiteX1" fmla="*/ 456246 w 1004886"/>
              <a:gd name="connsiteY1" fmla="*/ 0 h 171450"/>
              <a:gd name="connsiteX2" fmla="*/ 496998 w 1004886"/>
              <a:gd name="connsiteY2" fmla="*/ 0 h 171450"/>
              <a:gd name="connsiteX3" fmla="*/ 828773 w 1004886"/>
              <a:gd name="connsiteY3" fmla="*/ 0 h 171450"/>
              <a:gd name="connsiteX4" fmla="*/ 1004886 w 1004886"/>
              <a:gd name="connsiteY4" fmla="*/ 0 h 171450"/>
              <a:gd name="connsiteX5" fmla="*/ 1004886 w 1004886"/>
              <a:gd name="connsiteY5" fmla="*/ 171450 h 171450"/>
              <a:gd name="connsiteX6" fmla="*/ 729540 w 1004886"/>
              <a:gd name="connsiteY6" fmla="*/ 171450 h 171450"/>
              <a:gd name="connsiteX7" fmla="*/ 555354 w 1004886"/>
              <a:gd name="connsiteY7" fmla="*/ 171450 h 171450"/>
              <a:gd name="connsiteX8" fmla="*/ 539405 w 1004886"/>
              <a:gd name="connsiteY8" fmla="*/ 171450 h 171450"/>
              <a:gd name="connsiteX9" fmla="*/ 464521 w 1004886"/>
              <a:gd name="connsiteY9" fmla="*/ 171450 h 171450"/>
              <a:gd name="connsiteX10" fmla="*/ 0 w 1004886"/>
              <a:gd name="connsiteY10" fmla="*/ 171450 h 171450"/>
              <a:gd name="connsiteX11" fmla="*/ 99233 w 1004886"/>
              <a:gd name="connsiteY11" fmla="*/ 0 h 171450"/>
              <a:gd name="connsiteX0" fmla="*/ 99233 w 1004886"/>
              <a:gd name="connsiteY0" fmla="*/ 0 h 171450"/>
              <a:gd name="connsiteX1" fmla="*/ 456246 w 1004886"/>
              <a:gd name="connsiteY1" fmla="*/ 0 h 171450"/>
              <a:gd name="connsiteX2" fmla="*/ 828773 w 1004886"/>
              <a:gd name="connsiteY2" fmla="*/ 0 h 171450"/>
              <a:gd name="connsiteX3" fmla="*/ 1004886 w 1004886"/>
              <a:gd name="connsiteY3" fmla="*/ 0 h 171450"/>
              <a:gd name="connsiteX4" fmla="*/ 1004886 w 1004886"/>
              <a:gd name="connsiteY4" fmla="*/ 171450 h 171450"/>
              <a:gd name="connsiteX5" fmla="*/ 729540 w 1004886"/>
              <a:gd name="connsiteY5" fmla="*/ 171450 h 171450"/>
              <a:gd name="connsiteX6" fmla="*/ 555354 w 1004886"/>
              <a:gd name="connsiteY6" fmla="*/ 171450 h 171450"/>
              <a:gd name="connsiteX7" fmla="*/ 539405 w 1004886"/>
              <a:gd name="connsiteY7" fmla="*/ 171450 h 171450"/>
              <a:gd name="connsiteX8" fmla="*/ 464521 w 1004886"/>
              <a:gd name="connsiteY8" fmla="*/ 171450 h 171450"/>
              <a:gd name="connsiteX9" fmla="*/ 0 w 1004886"/>
              <a:gd name="connsiteY9" fmla="*/ 171450 h 171450"/>
              <a:gd name="connsiteX10" fmla="*/ 99233 w 1004886"/>
              <a:gd name="connsiteY10" fmla="*/ 0 h 171450"/>
              <a:gd name="connsiteX0" fmla="*/ 99233 w 1004886"/>
              <a:gd name="connsiteY0" fmla="*/ 0 h 171450"/>
              <a:gd name="connsiteX1" fmla="*/ 828773 w 1004886"/>
              <a:gd name="connsiteY1" fmla="*/ 0 h 171450"/>
              <a:gd name="connsiteX2" fmla="*/ 1004886 w 1004886"/>
              <a:gd name="connsiteY2" fmla="*/ 0 h 171450"/>
              <a:gd name="connsiteX3" fmla="*/ 1004886 w 1004886"/>
              <a:gd name="connsiteY3" fmla="*/ 171450 h 171450"/>
              <a:gd name="connsiteX4" fmla="*/ 729540 w 1004886"/>
              <a:gd name="connsiteY4" fmla="*/ 171450 h 171450"/>
              <a:gd name="connsiteX5" fmla="*/ 555354 w 1004886"/>
              <a:gd name="connsiteY5" fmla="*/ 171450 h 171450"/>
              <a:gd name="connsiteX6" fmla="*/ 539405 w 1004886"/>
              <a:gd name="connsiteY6" fmla="*/ 171450 h 171450"/>
              <a:gd name="connsiteX7" fmla="*/ 464521 w 1004886"/>
              <a:gd name="connsiteY7" fmla="*/ 171450 h 171450"/>
              <a:gd name="connsiteX8" fmla="*/ 0 w 1004886"/>
              <a:gd name="connsiteY8" fmla="*/ 171450 h 171450"/>
              <a:gd name="connsiteX9" fmla="*/ 99233 w 1004886"/>
              <a:gd name="connsiteY9" fmla="*/ 0 h 171450"/>
              <a:gd name="connsiteX0" fmla="*/ 99233 w 1004886"/>
              <a:gd name="connsiteY0" fmla="*/ 0 h 171450"/>
              <a:gd name="connsiteX1" fmla="*/ 1004886 w 1004886"/>
              <a:gd name="connsiteY1" fmla="*/ 0 h 171450"/>
              <a:gd name="connsiteX2" fmla="*/ 1004886 w 1004886"/>
              <a:gd name="connsiteY2" fmla="*/ 171450 h 171450"/>
              <a:gd name="connsiteX3" fmla="*/ 729540 w 1004886"/>
              <a:gd name="connsiteY3" fmla="*/ 171450 h 171450"/>
              <a:gd name="connsiteX4" fmla="*/ 555354 w 1004886"/>
              <a:gd name="connsiteY4" fmla="*/ 171450 h 171450"/>
              <a:gd name="connsiteX5" fmla="*/ 539405 w 1004886"/>
              <a:gd name="connsiteY5" fmla="*/ 171450 h 171450"/>
              <a:gd name="connsiteX6" fmla="*/ 464521 w 1004886"/>
              <a:gd name="connsiteY6" fmla="*/ 171450 h 171450"/>
              <a:gd name="connsiteX7" fmla="*/ 0 w 1004886"/>
              <a:gd name="connsiteY7" fmla="*/ 171450 h 171450"/>
              <a:gd name="connsiteX8" fmla="*/ 99233 w 1004886"/>
              <a:gd name="connsiteY8" fmla="*/ 0 h 171450"/>
              <a:gd name="connsiteX0" fmla="*/ 99233 w 1004886"/>
              <a:gd name="connsiteY0" fmla="*/ 0 h 171450"/>
              <a:gd name="connsiteX1" fmla="*/ 1004886 w 1004886"/>
              <a:gd name="connsiteY1" fmla="*/ 0 h 171450"/>
              <a:gd name="connsiteX2" fmla="*/ 1004886 w 1004886"/>
              <a:gd name="connsiteY2" fmla="*/ 171450 h 171450"/>
              <a:gd name="connsiteX3" fmla="*/ 555354 w 1004886"/>
              <a:gd name="connsiteY3" fmla="*/ 171450 h 171450"/>
              <a:gd name="connsiteX4" fmla="*/ 539405 w 1004886"/>
              <a:gd name="connsiteY4" fmla="*/ 171450 h 171450"/>
              <a:gd name="connsiteX5" fmla="*/ 464521 w 1004886"/>
              <a:gd name="connsiteY5" fmla="*/ 171450 h 171450"/>
              <a:gd name="connsiteX6" fmla="*/ 0 w 1004886"/>
              <a:gd name="connsiteY6" fmla="*/ 171450 h 171450"/>
              <a:gd name="connsiteX7" fmla="*/ 99233 w 1004886"/>
              <a:gd name="connsiteY7" fmla="*/ 0 h 171450"/>
              <a:gd name="connsiteX0" fmla="*/ 99233 w 1004886"/>
              <a:gd name="connsiteY0" fmla="*/ 0 h 171450"/>
              <a:gd name="connsiteX1" fmla="*/ 1004886 w 1004886"/>
              <a:gd name="connsiteY1" fmla="*/ 0 h 171450"/>
              <a:gd name="connsiteX2" fmla="*/ 1004886 w 1004886"/>
              <a:gd name="connsiteY2" fmla="*/ 171450 h 171450"/>
              <a:gd name="connsiteX3" fmla="*/ 539405 w 1004886"/>
              <a:gd name="connsiteY3" fmla="*/ 171450 h 171450"/>
              <a:gd name="connsiteX4" fmla="*/ 464521 w 1004886"/>
              <a:gd name="connsiteY4" fmla="*/ 171450 h 171450"/>
              <a:gd name="connsiteX5" fmla="*/ 0 w 1004886"/>
              <a:gd name="connsiteY5" fmla="*/ 171450 h 171450"/>
              <a:gd name="connsiteX6" fmla="*/ 99233 w 1004886"/>
              <a:gd name="connsiteY6" fmla="*/ 0 h 171450"/>
              <a:gd name="connsiteX0" fmla="*/ 99233 w 1004886"/>
              <a:gd name="connsiteY0" fmla="*/ 0 h 171450"/>
              <a:gd name="connsiteX1" fmla="*/ 1004886 w 1004886"/>
              <a:gd name="connsiteY1" fmla="*/ 0 h 171450"/>
              <a:gd name="connsiteX2" fmla="*/ 1004886 w 1004886"/>
              <a:gd name="connsiteY2" fmla="*/ 171450 h 171450"/>
              <a:gd name="connsiteX3" fmla="*/ 464521 w 1004886"/>
              <a:gd name="connsiteY3" fmla="*/ 171450 h 171450"/>
              <a:gd name="connsiteX4" fmla="*/ 0 w 1004886"/>
              <a:gd name="connsiteY4" fmla="*/ 171450 h 171450"/>
              <a:gd name="connsiteX5" fmla="*/ 99233 w 1004886"/>
              <a:gd name="connsiteY5" fmla="*/ 0 h 171450"/>
              <a:gd name="connsiteX0" fmla="*/ 99233 w 1004886"/>
              <a:gd name="connsiteY0" fmla="*/ 0 h 171450"/>
              <a:gd name="connsiteX1" fmla="*/ 1004886 w 1004886"/>
              <a:gd name="connsiteY1" fmla="*/ 0 h 171450"/>
              <a:gd name="connsiteX2" fmla="*/ 1004886 w 1004886"/>
              <a:gd name="connsiteY2" fmla="*/ 171450 h 171450"/>
              <a:gd name="connsiteX3" fmla="*/ 0 w 1004886"/>
              <a:gd name="connsiteY3" fmla="*/ 171450 h 171450"/>
              <a:gd name="connsiteX4" fmla="*/ 99233 w 1004886"/>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86" h="171450">
                <a:moveTo>
                  <a:pt x="99233" y="0"/>
                </a:moveTo>
                <a:lnTo>
                  <a:pt x="1004886" y="0"/>
                </a:lnTo>
                <a:lnTo>
                  <a:pt x="1004886" y="171450"/>
                </a:lnTo>
                <a:lnTo>
                  <a:pt x="0" y="171450"/>
                </a:lnTo>
                <a:lnTo>
                  <a:pt x="99233" y="0"/>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Tree>
    <p:extLst>
      <p:ext uri="{BB962C8B-B14F-4D97-AF65-F5344CB8AC3E}">
        <p14:creationId xmlns:p14="http://schemas.microsoft.com/office/powerpoint/2010/main" val="162390953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ct val="80000"/>
        </a:lnSpc>
        <a:spcBef>
          <a:spcPct val="0"/>
        </a:spcBef>
        <a:spcAft>
          <a:spcPct val="0"/>
        </a:spcAft>
        <a:defRPr sz="2800" b="0" kern="1200">
          <a:solidFill>
            <a:schemeClr val="tx1"/>
          </a:solidFill>
          <a:latin typeface="+mj-lt"/>
          <a:ea typeface="+mj-ea"/>
          <a:cs typeface="+mj-cs"/>
        </a:defRPr>
      </a:lvl1pPr>
      <a:lvl2pPr algn="l" rtl="0" eaLnBrk="1" fontAlgn="base" hangingPunct="1">
        <a:lnSpc>
          <a:spcPct val="80000"/>
        </a:lnSpc>
        <a:spcBef>
          <a:spcPct val="0"/>
        </a:spcBef>
        <a:spcAft>
          <a:spcPct val="0"/>
        </a:spcAft>
        <a:defRPr sz="3600" b="1">
          <a:solidFill>
            <a:schemeClr val="tx2"/>
          </a:solidFill>
          <a:latin typeface="Oslo" pitchFamily="34" charset="0"/>
        </a:defRPr>
      </a:lvl2pPr>
      <a:lvl3pPr algn="l" rtl="0" eaLnBrk="1" fontAlgn="base" hangingPunct="1">
        <a:lnSpc>
          <a:spcPct val="80000"/>
        </a:lnSpc>
        <a:spcBef>
          <a:spcPct val="0"/>
        </a:spcBef>
        <a:spcAft>
          <a:spcPct val="0"/>
        </a:spcAft>
        <a:defRPr sz="3600" b="1">
          <a:solidFill>
            <a:schemeClr val="tx2"/>
          </a:solidFill>
          <a:latin typeface="Oslo" pitchFamily="34" charset="0"/>
        </a:defRPr>
      </a:lvl3pPr>
      <a:lvl4pPr algn="l" rtl="0" eaLnBrk="1" fontAlgn="base" hangingPunct="1">
        <a:lnSpc>
          <a:spcPct val="80000"/>
        </a:lnSpc>
        <a:spcBef>
          <a:spcPct val="0"/>
        </a:spcBef>
        <a:spcAft>
          <a:spcPct val="0"/>
        </a:spcAft>
        <a:defRPr sz="3600" b="1">
          <a:solidFill>
            <a:schemeClr val="tx2"/>
          </a:solidFill>
          <a:latin typeface="Oslo" pitchFamily="34" charset="0"/>
        </a:defRPr>
      </a:lvl4pPr>
      <a:lvl5pPr algn="l" rtl="0" eaLnBrk="1" fontAlgn="base" hangingPunct="1">
        <a:lnSpc>
          <a:spcPct val="80000"/>
        </a:lnSpc>
        <a:spcBef>
          <a:spcPct val="0"/>
        </a:spcBef>
        <a:spcAft>
          <a:spcPct val="0"/>
        </a:spcAft>
        <a:defRPr sz="3600" b="1">
          <a:solidFill>
            <a:schemeClr val="tx2"/>
          </a:solidFill>
          <a:latin typeface="Oslo" pitchFamily="34" charset="0"/>
        </a:defRPr>
      </a:lvl5pPr>
      <a:lvl6pPr marL="457200" algn="l" rtl="0" eaLnBrk="1" fontAlgn="base" hangingPunct="1">
        <a:lnSpc>
          <a:spcPct val="80000"/>
        </a:lnSpc>
        <a:spcBef>
          <a:spcPct val="0"/>
        </a:spcBef>
        <a:spcAft>
          <a:spcPct val="0"/>
        </a:spcAft>
        <a:defRPr sz="3600" b="1">
          <a:solidFill>
            <a:schemeClr val="tx2"/>
          </a:solidFill>
          <a:latin typeface="Oslo" pitchFamily="34" charset="0"/>
        </a:defRPr>
      </a:lvl6pPr>
      <a:lvl7pPr marL="914400" algn="l" rtl="0" eaLnBrk="1" fontAlgn="base" hangingPunct="1">
        <a:lnSpc>
          <a:spcPct val="80000"/>
        </a:lnSpc>
        <a:spcBef>
          <a:spcPct val="0"/>
        </a:spcBef>
        <a:spcAft>
          <a:spcPct val="0"/>
        </a:spcAft>
        <a:defRPr sz="3600" b="1">
          <a:solidFill>
            <a:schemeClr val="tx2"/>
          </a:solidFill>
          <a:latin typeface="Oslo" pitchFamily="34" charset="0"/>
        </a:defRPr>
      </a:lvl7pPr>
      <a:lvl8pPr marL="1371600" algn="l" rtl="0" eaLnBrk="1" fontAlgn="base" hangingPunct="1">
        <a:lnSpc>
          <a:spcPct val="80000"/>
        </a:lnSpc>
        <a:spcBef>
          <a:spcPct val="0"/>
        </a:spcBef>
        <a:spcAft>
          <a:spcPct val="0"/>
        </a:spcAft>
        <a:defRPr sz="3600" b="1">
          <a:solidFill>
            <a:schemeClr val="tx2"/>
          </a:solidFill>
          <a:latin typeface="Oslo" pitchFamily="34" charset="0"/>
        </a:defRPr>
      </a:lvl8pPr>
      <a:lvl9pPr marL="1828800" algn="l" rtl="0" eaLnBrk="1" fontAlgn="base" hangingPunct="1">
        <a:lnSpc>
          <a:spcPct val="80000"/>
        </a:lnSpc>
        <a:spcBef>
          <a:spcPct val="0"/>
        </a:spcBef>
        <a:spcAft>
          <a:spcPct val="0"/>
        </a:spcAft>
        <a:defRPr sz="3600" b="1">
          <a:solidFill>
            <a:schemeClr val="tx2"/>
          </a:solidFill>
          <a:latin typeface="Oslo" pitchFamily="34" charset="0"/>
        </a:defRPr>
      </a:lvl9pPr>
    </p:titleStyle>
    <p:bodyStyle>
      <a:lvl1pPr marL="173038" indent="-173038" algn="l" rtl="0" eaLnBrk="1" fontAlgn="base" hangingPunct="1">
        <a:spcBef>
          <a:spcPts val="1200"/>
        </a:spcBef>
        <a:spcAft>
          <a:spcPct val="0"/>
        </a:spcAft>
        <a:buClr>
          <a:schemeClr val="accent1"/>
        </a:buClr>
        <a:buSzPct val="100000"/>
        <a:buFont typeface="Arial" panose="020B0604020202020204" pitchFamily="34" charset="0"/>
        <a:buChar char="•"/>
        <a:defRPr sz="1800" b="0" kern="1200">
          <a:solidFill>
            <a:schemeClr val="accent1"/>
          </a:solidFill>
          <a:latin typeface="+mn-lt"/>
          <a:ea typeface="+mn-ea"/>
          <a:cs typeface="+mn-cs"/>
        </a:defRPr>
      </a:lvl1pPr>
      <a:lvl2pPr marL="457200" indent="-223838" algn="l" rtl="0" eaLnBrk="1" fontAlgn="base" hangingPunct="1">
        <a:spcBef>
          <a:spcPts val="0"/>
        </a:spcBef>
        <a:spcAft>
          <a:spcPts val="400"/>
        </a:spcAft>
        <a:buClr>
          <a:schemeClr val="accent1"/>
        </a:buClr>
        <a:buSzPct val="100000"/>
        <a:buFont typeface="Arial" panose="020B0604020202020204" pitchFamily="34" charset="0"/>
        <a:buChar char="–"/>
        <a:defRPr sz="1600" kern="1200">
          <a:solidFill>
            <a:schemeClr val="tx1"/>
          </a:solidFill>
          <a:latin typeface="+mn-lt"/>
          <a:ea typeface="+mn-ea"/>
          <a:cs typeface="+mn-cs"/>
        </a:defRPr>
      </a:lvl2pPr>
      <a:lvl3pPr marL="690563" indent="-233363" algn="l" rtl="0" eaLnBrk="1" fontAlgn="base" hangingPunct="1">
        <a:spcBef>
          <a:spcPts val="0"/>
        </a:spcBef>
        <a:spcAft>
          <a:spcPts val="200"/>
        </a:spcAft>
        <a:buClr>
          <a:schemeClr val="accent1"/>
        </a:buClr>
        <a:buSzPct val="100000"/>
        <a:buFont typeface="Arial" panose="020B0604020202020204" pitchFamily="34" charset="0"/>
        <a:buChar char="»"/>
        <a:defRPr sz="1600" kern="1200">
          <a:solidFill>
            <a:schemeClr val="tx1"/>
          </a:solidFill>
          <a:latin typeface="+mn-lt"/>
          <a:ea typeface="+mn-ea"/>
          <a:cs typeface="+mn-cs"/>
        </a:defRPr>
      </a:lvl3pPr>
      <a:lvl4pPr marL="914400" indent="-223838" algn="l" rtl="0" eaLnBrk="1" fontAlgn="base" hangingPunct="1">
        <a:spcBef>
          <a:spcPts val="0"/>
        </a:spcBef>
        <a:spcAft>
          <a:spcPts val="300"/>
        </a:spcAft>
        <a:buClr>
          <a:schemeClr val="accent1"/>
        </a:buClr>
        <a:buSzPct val="100000"/>
        <a:buFont typeface="Arial" panose="020B0604020202020204" pitchFamily="34" charset="0"/>
        <a:buChar char="•"/>
        <a:defRPr sz="1400" kern="1200">
          <a:solidFill>
            <a:schemeClr val="tx1"/>
          </a:solidFill>
          <a:latin typeface="+mn-lt"/>
          <a:ea typeface="+mn-ea"/>
          <a:cs typeface="+mn-cs"/>
        </a:defRPr>
      </a:lvl4pPr>
      <a:lvl5pPr marL="1147763" indent="-233363" algn="l" rtl="0" eaLnBrk="1" fontAlgn="base" hangingPunct="1">
        <a:spcBef>
          <a:spcPts val="0"/>
        </a:spcBef>
        <a:spcAft>
          <a:spcPts val="300"/>
        </a:spcAft>
        <a:buClr>
          <a:schemeClr val="accent1"/>
        </a:buClr>
        <a:buSzPct val="100000"/>
        <a:buFont typeface="Arial" panose="020B0604020202020204" pitchFamily="34" charset="0"/>
        <a:buChar char="–"/>
        <a:defRPr sz="1400" kern="1200">
          <a:solidFill>
            <a:schemeClr val="tx1"/>
          </a:solidFill>
          <a:latin typeface="+mn-lt"/>
          <a:ea typeface="+mn-ea"/>
          <a:cs typeface="+mn-cs"/>
        </a:defRPr>
      </a:lvl5pPr>
      <a:lvl6pPr marL="1168400" indent="-177800" algn="l" defTabSz="914400" rtl="0" eaLnBrk="1" latinLnBrk="0" hangingPunct="1">
        <a:spcBef>
          <a:spcPct val="20000"/>
        </a:spcBef>
        <a:buClr>
          <a:schemeClr val="accent2"/>
        </a:buClr>
        <a:buSzPct val="100000"/>
        <a:buFont typeface="Oslo" pitchFamily="34" charset="0"/>
        <a:buChar char="–"/>
        <a:defRPr sz="1400" kern="1200" baseline="0">
          <a:solidFill>
            <a:schemeClr val="tx1"/>
          </a:solidFill>
          <a:latin typeface="+mn-lt"/>
          <a:ea typeface="+mn-ea"/>
          <a:cs typeface="+mn-cs"/>
        </a:defRPr>
      </a:lvl6pPr>
      <a:lvl7pPr marL="1312863" indent="-144463" algn="l" defTabSz="914400" rtl="0" eaLnBrk="1" latinLnBrk="0" hangingPunct="1">
        <a:spcBef>
          <a:spcPct val="20000"/>
        </a:spcBef>
        <a:buClr>
          <a:schemeClr val="accent2"/>
        </a:buClr>
        <a:buSzPct val="100000"/>
        <a:buFont typeface="Arial" pitchFamily="34" charset="0"/>
        <a:buChar char="•"/>
        <a:defRPr sz="1400" kern="1200" baseline="0">
          <a:solidFill>
            <a:schemeClr val="tx1"/>
          </a:solidFill>
          <a:latin typeface="+mn-lt"/>
          <a:ea typeface="+mn-ea"/>
          <a:cs typeface="+mn-cs"/>
        </a:defRPr>
      </a:lvl7pPr>
      <a:lvl8pPr marL="1481138" indent="-160338" algn="l" defTabSz="914400" rtl="0" eaLnBrk="1" latinLnBrk="0" hangingPunct="1">
        <a:spcBef>
          <a:spcPct val="20000"/>
        </a:spcBef>
        <a:buClr>
          <a:schemeClr val="accent2"/>
        </a:buClr>
        <a:buSzPct val="100000"/>
        <a:buFont typeface="Oslo" pitchFamily="34" charset="0"/>
        <a:buChar char="–"/>
        <a:defRPr sz="1400" kern="1200" baseline="0">
          <a:solidFill>
            <a:schemeClr val="tx1"/>
          </a:solidFill>
          <a:latin typeface="+mn-lt"/>
          <a:ea typeface="+mn-ea"/>
          <a:cs typeface="+mn-cs"/>
        </a:defRPr>
      </a:lvl8pPr>
      <a:lvl9pPr marL="1490663" indent="0" algn="l" defTabSz="914400" rtl="0" eaLnBrk="1" latinLnBrk="0" hangingPunct="1">
        <a:spcBef>
          <a:spcPct val="20000"/>
        </a:spcBef>
        <a:buClr>
          <a:schemeClr val="accent2"/>
        </a:buClr>
        <a:buSzPct val="100000"/>
        <a:buFont typeface="Arial" pitchFamily="34" charset="0"/>
        <a:buNone/>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1" name="Group 50"/>
          <p:cNvGrpSpPr>
            <a:grpSpLocks noChangeAspect="1"/>
          </p:cNvGrpSpPr>
          <p:nvPr/>
        </p:nvGrpSpPr>
        <p:grpSpPr>
          <a:xfrm>
            <a:off x="374651" y="6431112"/>
            <a:ext cx="1673352" cy="328463"/>
            <a:chOff x="374651" y="6029325"/>
            <a:chExt cx="2054224" cy="403225"/>
          </a:xfrm>
        </p:grpSpPr>
        <p:sp>
          <p:nvSpPr>
            <p:cNvPr id="52"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3"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4" name="Freeform 53"/>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5" name="Freeform 54"/>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6" name="Freeform 55"/>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7" name="Freeform 56"/>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8" name="Freeform 57"/>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9" name="Freeform 58"/>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0"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1"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2"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3"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4"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5"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6"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7"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68"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
        <p:nvSpPr>
          <p:cNvPr id="26" name="Rectangle 17"/>
          <p:cNvSpPr/>
          <p:nvPr/>
        </p:nvSpPr>
        <p:spPr bwMode="auto">
          <a:xfrm>
            <a:off x="6409826" y="0"/>
            <a:ext cx="828773" cy="171450"/>
          </a:xfrm>
          <a:custGeom>
            <a:avLst/>
            <a:gdLst/>
            <a:ahLst/>
            <a:cxnLst/>
            <a:rect l="l" t="t" r="r" b="b"/>
            <a:pathLst>
              <a:path w="828773" h="171450">
                <a:moveTo>
                  <a:pt x="99233" y="0"/>
                </a:moveTo>
                <a:lnTo>
                  <a:pt x="828773" y="0"/>
                </a:lnTo>
                <a:lnTo>
                  <a:pt x="729540" y="171450"/>
                </a:lnTo>
                <a:lnTo>
                  <a:pt x="0" y="171450"/>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7" name="Rectangle 17"/>
          <p:cNvSpPr/>
          <p:nvPr/>
        </p:nvSpPr>
        <p:spPr bwMode="auto">
          <a:xfrm>
            <a:off x="0" y="0"/>
            <a:ext cx="6579109" cy="171450"/>
          </a:xfrm>
          <a:custGeom>
            <a:avLst/>
            <a:gdLst/>
            <a:ahLst/>
            <a:cxnLst/>
            <a:rect l="l" t="t" r="r" b="b"/>
            <a:pathLst>
              <a:path w="6579109" h="171450">
                <a:moveTo>
                  <a:pt x="0" y="0"/>
                </a:moveTo>
                <a:lnTo>
                  <a:pt x="5390641" y="0"/>
                </a:lnTo>
                <a:lnTo>
                  <a:pt x="6090420" y="0"/>
                </a:lnTo>
                <a:lnTo>
                  <a:pt x="6579109" y="0"/>
                </a:lnTo>
                <a:lnTo>
                  <a:pt x="6479876" y="171450"/>
                </a:lnTo>
                <a:lnTo>
                  <a:pt x="5581891" y="171450"/>
                </a:lnTo>
                <a:lnTo>
                  <a:pt x="5390641" y="171450"/>
                </a:lnTo>
                <a:lnTo>
                  <a:pt x="0" y="171450"/>
                </a:lnTo>
                <a:close/>
              </a:path>
            </a:pathLst>
          </a:cu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32" name="Rectangle 17"/>
          <p:cNvSpPr/>
          <p:nvPr/>
        </p:nvSpPr>
        <p:spPr bwMode="auto">
          <a:xfrm>
            <a:off x="7092280" y="0"/>
            <a:ext cx="2051718" cy="171450"/>
          </a:xfrm>
          <a:custGeom>
            <a:avLst/>
            <a:gdLst/>
            <a:ahLst/>
            <a:cxnLst/>
            <a:rect l="l" t="t" r="r" b="b"/>
            <a:pathLst>
              <a:path w="2051718" h="171450">
                <a:moveTo>
                  <a:pt x="99233" y="0"/>
                </a:moveTo>
                <a:lnTo>
                  <a:pt x="675297" y="0"/>
                </a:lnTo>
                <a:lnTo>
                  <a:pt x="828773" y="0"/>
                </a:lnTo>
                <a:lnTo>
                  <a:pt x="1146065" y="0"/>
                </a:lnTo>
                <a:lnTo>
                  <a:pt x="1404837" y="0"/>
                </a:lnTo>
                <a:lnTo>
                  <a:pt x="2051718" y="0"/>
                </a:lnTo>
                <a:lnTo>
                  <a:pt x="2051718" y="171450"/>
                </a:lnTo>
                <a:lnTo>
                  <a:pt x="1305604" y="171450"/>
                </a:lnTo>
                <a:lnTo>
                  <a:pt x="1046832" y="171450"/>
                </a:lnTo>
                <a:lnTo>
                  <a:pt x="576064" y="171450"/>
                </a:lnTo>
                <a:lnTo>
                  <a:pt x="576064" y="171450"/>
                </a:lnTo>
                <a:lnTo>
                  <a:pt x="0" y="171450"/>
                </a:lnTo>
                <a:close/>
              </a:path>
            </a:pathLst>
          </a:custGeom>
          <a:solidFill>
            <a:srgbClr val="EF5223"/>
          </a:solidFill>
          <a:ln>
            <a:noFill/>
          </a:ln>
          <a:extLst/>
        </p:spPr>
        <p:txBody>
          <a:bodyPr vert="horz" wrap="square" lIns="91440" tIns="45720" rIns="91440" bIns="45720" numCol="1" anchor="t" anchorCtr="0" compatLnSpc="1">
            <a:prstTxWarp prst="textNoShape">
              <a:avLst/>
            </a:prstTxWarp>
          </a:bodyPr>
          <a:lstStyle/>
          <a:p>
            <a:endParaRPr lang="en-US" sz="2400">
              <a:solidFill>
                <a:srgbClr val="38454F"/>
              </a:solidFill>
              <a:latin typeface="Arial"/>
            </a:endParaRPr>
          </a:p>
        </p:txBody>
      </p:sp>
      <p:graphicFrame>
        <p:nvGraphicFramePr>
          <p:cNvPr id="2" name="Object 1" hidden="1"/>
          <p:cNvGraphicFramePr>
            <a:graphicFrameLocks noChangeAspect="1"/>
          </p:cNvGraphicFramePr>
          <p:nvPr>
            <p:custDataLst>
              <p:tags r:id="rId28"/>
            </p:custDataLst>
            <p:extLst>
              <p:ext uri="{D42A27DB-BD31-4B8C-83A1-F6EECF244321}">
                <p14:modId xmlns:p14="http://schemas.microsoft.com/office/powerpoint/2010/main" val="1627311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1"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1030" name="Title Placeholder 1"/>
          <p:cNvSpPr>
            <a:spLocks noGrp="1"/>
          </p:cNvSpPr>
          <p:nvPr>
            <p:ph type="title"/>
          </p:nvPr>
        </p:nvSpPr>
        <p:spPr bwMode="auto">
          <a:xfrm>
            <a:off x="363538" y="279495"/>
            <a:ext cx="8432800" cy="689420"/>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noProof="0" dirty="0"/>
              <a:t>Headline – Arial 36pt Bold</a:t>
            </a:r>
            <a:br>
              <a:rPr lang="en-US" noProof="0" dirty="0"/>
            </a:br>
            <a:r>
              <a:rPr lang="en-US" noProof="0" dirty="0"/>
              <a:t>Space for 2 lines</a:t>
            </a:r>
          </a:p>
        </p:txBody>
      </p:sp>
      <p:sp>
        <p:nvSpPr>
          <p:cNvPr id="3" name="Text Placeholder 2"/>
          <p:cNvSpPr>
            <a:spLocks noGrp="1"/>
          </p:cNvSpPr>
          <p:nvPr>
            <p:ph type="body" idx="1"/>
          </p:nvPr>
        </p:nvSpPr>
        <p:spPr>
          <a:xfrm>
            <a:off x="363538" y="1073150"/>
            <a:ext cx="8432800" cy="5285741"/>
          </a:xfrm>
          <a:prstGeom prst="rect">
            <a:avLst/>
          </a:prstGeom>
        </p:spPr>
        <p:txBody>
          <a:bodyPr vert="horz" lIns="0" tIns="0" rIns="0" bIns="0" rtlCol="0">
            <a:noAutofit/>
          </a:bodyPr>
          <a:lstStyle/>
          <a:p>
            <a:pPr lvl="0"/>
            <a:r>
              <a:rPr lang="en-US" noProof="0" dirty="0"/>
              <a:t>First level – 18pt</a:t>
            </a:r>
          </a:p>
          <a:p>
            <a:pPr lvl="1"/>
            <a:r>
              <a:rPr lang="en-US" noProof="0" dirty="0"/>
              <a:t>Second level – 16pt</a:t>
            </a:r>
          </a:p>
          <a:p>
            <a:pPr lvl="2"/>
            <a:r>
              <a:rPr lang="en-US" noProof="0" dirty="0"/>
              <a:t>Third level – 16pt</a:t>
            </a:r>
          </a:p>
          <a:p>
            <a:pPr lvl="3"/>
            <a:r>
              <a:rPr lang="en-US" noProof="0" dirty="0"/>
              <a:t>Fourth level – 14pt</a:t>
            </a:r>
          </a:p>
          <a:p>
            <a:pPr lvl="4"/>
            <a:r>
              <a:rPr lang="en-US" noProof="0" dirty="0"/>
              <a:t>Fifth level – 14pt</a:t>
            </a:r>
          </a:p>
        </p:txBody>
      </p:sp>
      <p:sp>
        <p:nvSpPr>
          <p:cNvPr id="21" name="TextBox 20"/>
          <p:cNvSpPr txBox="1"/>
          <p:nvPr/>
        </p:nvSpPr>
        <p:spPr>
          <a:xfrm>
            <a:off x="3214688" y="6517547"/>
            <a:ext cx="2743200" cy="230832"/>
          </a:xfrm>
          <a:prstGeom prst="rect">
            <a:avLst/>
          </a:prstGeom>
          <a:noFill/>
        </p:spPr>
        <p:txBody>
          <a:bodyPr anchor="b">
            <a:spAutoFit/>
          </a:bodyPr>
          <a:lstStyle/>
          <a:p>
            <a:pPr algn="ctr" fontAlgn="auto">
              <a:spcBef>
                <a:spcPts val="0"/>
              </a:spcBef>
              <a:spcAft>
                <a:spcPts val="0"/>
              </a:spcAft>
              <a:defRPr/>
            </a:pPr>
            <a:r>
              <a:rPr lang="en-US" sz="900" kern="0" dirty="0">
                <a:solidFill>
                  <a:srgbClr val="38454F">
                    <a:lumMod val="60000"/>
                    <a:lumOff val="40000"/>
                  </a:srgbClr>
                </a:solidFill>
                <a:latin typeface="Oslo" pitchFamily="34" charset="0"/>
              </a:rPr>
              <a:t>COMPANY CONFIDENTIAL</a:t>
            </a:r>
          </a:p>
        </p:txBody>
      </p:sp>
      <p:sp>
        <p:nvSpPr>
          <p:cNvPr id="23" name="Date Placeholder 3"/>
          <p:cNvSpPr>
            <a:spLocks noGrp="1" noChangeAspect="1"/>
          </p:cNvSpPr>
          <p:nvPr>
            <p:ph type="dt" sz="half" idx="2"/>
          </p:nvPr>
        </p:nvSpPr>
        <p:spPr>
          <a:xfrm>
            <a:off x="7454344" y="6389441"/>
            <a:ext cx="910116" cy="365125"/>
          </a:xfrm>
          <a:prstGeom prst="rect">
            <a:avLst/>
          </a:prstGeom>
        </p:spPr>
        <p:txBody>
          <a:bodyPr vert="horz" lIns="91440" tIns="45720" rIns="91440" bIns="45720" rtlCol="0" anchor="b"/>
          <a:lstStyle>
            <a:lvl1pPr algn="r" fontAlgn="auto">
              <a:spcBef>
                <a:spcPts val="0"/>
              </a:spcBef>
              <a:spcAft>
                <a:spcPts val="0"/>
              </a:spcAft>
              <a:defRPr sz="1000" smtClean="0">
                <a:solidFill>
                  <a:schemeClr val="tx1"/>
                </a:solidFill>
                <a:latin typeface="Oslo" pitchFamily="34" charset="0"/>
              </a:defRPr>
            </a:lvl1pPr>
          </a:lstStyle>
          <a:p>
            <a:pPr>
              <a:defRPr/>
            </a:pPr>
            <a:endParaRPr lang="en-US" dirty="0">
              <a:solidFill>
                <a:srgbClr val="38454F"/>
              </a:solidFill>
            </a:endParaRPr>
          </a:p>
        </p:txBody>
      </p:sp>
      <p:sp>
        <p:nvSpPr>
          <p:cNvPr id="24" name="Slide Number Placeholder 5"/>
          <p:cNvSpPr>
            <a:spLocks noGrp="1" noChangeAspect="1"/>
          </p:cNvSpPr>
          <p:nvPr>
            <p:ph type="sldNum" sz="quarter" idx="4"/>
          </p:nvPr>
        </p:nvSpPr>
        <p:spPr>
          <a:xfrm>
            <a:off x="8379617" y="6389441"/>
            <a:ext cx="523875" cy="365125"/>
          </a:xfrm>
          <a:prstGeom prst="rect">
            <a:avLst/>
          </a:prstGeom>
        </p:spPr>
        <p:txBody>
          <a:bodyPr vert="horz" lIns="91440" tIns="45720" rIns="91440" bIns="45720" rtlCol="0" anchor="b"/>
          <a:lstStyle>
            <a:lvl1pPr algn="r" fontAlgn="auto">
              <a:spcBef>
                <a:spcPts val="0"/>
              </a:spcBef>
              <a:spcAft>
                <a:spcPts val="0"/>
              </a:spcAft>
              <a:defRPr sz="1000" smtClean="0">
                <a:solidFill>
                  <a:schemeClr val="tx1"/>
                </a:solidFill>
                <a:latin typeface="Oslo" pitchFamily="34" charset="0"/>
              </a:defRPr>
            </a:lvl1pPr>
          </a:lstStyle>
          <a:p>
            <a:pPr>
              <a:defRPr/>
            </a:pPr>
            <a:fld id="{91D03FF3-2B9E-4617-A592-48F56EC63E6E}" type="slidenum">
              <a:rPr lang="en-US">
                <a:solidFill>
                  <a:srgbClr val="38454F"/>
                </a:solidFill>
              </a:rPr>
              <a:pPr>
                <a:defRPr/>
              </a:pPr>
              <a:t>‹#›</a:t>
            </a:fld>
            <a:endParaRPr lang="en-US" dirty="0">
              <a:solidFill>
                <a:srgbClr val="38454F"/>
              </a:solidFill>
            </a:endParaRPr>
          </a:p>
        </p:txBody>
      </p:sp>
      <p:sp>
        <p:nvSpPr>
          <p:cNvPr id="18" name="Rectangle 17"/>
          <p:cNvSpPr/>
          <p:nvPr/>
        </p:nvSpPr>
        <p:spPr bwMode="auto">
          <a:xfrm>
            <a:off x="0" y="0"/>
            <a:ext cx="1188468" cy="171450"/>
          </a:xfrm>
          <a:custGeom>
            <a:avLst/>
            <a:gdLst>
              <a:gd name="connsiteX0" fmla="*/ 0 w 1188468"/>
              <a:gd name="connsiteY0" fmla="*/ 0 h 171450"/>
              <a:gd name="connsiteX1" fmla="*/ 336134 w 1188468"/>
              <a:gd name="connsiteY1" fmla="*/ 0 h 171450"/>
              <a:gd name="connsiteX2" fmla="*/ 1188468 w 1188468"/>
              <a:gd name="connsiteY2" fmla="*/ 0 h 171450"/>
              <a:gd name="connsiteX3" fmla="*/ 1168375 w 1188468"/>
              <a:gd name="connsiteY3" fmla="*/ 34787 h 171450"/>
              <a:gd name="connsiteX4" fmla="*/ 1089235 w 1188468"/>
              <a:gd name="connsiteY4" fmla="*/ 171450 h 171450"/>
              <a:gd name="connsiteX5" fmla="*/ 816864 w 1188468"/>
              <a:gd name="connsiteY5" fmla="*/ 171450 h 171450"/>
              <a:gd name="connsiteX6" fmla="*/ 237145 w 1188468"/>
              <a:gd name="connsiteY6" fmla="*/ 171450 h 171450"/>
              <a:gd name="connsiteX7" fmla="*/ 0 w 1188468"/>
              <a:gd name="connsiteY7" fmla="*/ 171450 h 171450"/>
              <a:gd name="connsiteX8" fmla="*/ 0 w 1188468"/>
              <a:gd name="connsiteY8" fmla="*/ 0 h 171450"/>
              <a:gd name="connsiteX0" fmla="*/ 0 w 1188468"/>
              <a:gd name="connsiteY0" fmla="*/ 0 h 171450"/>
              <a:gd name="connsiteX1" fmla="*/ 336134 w 1188468"/>
              <a:gd name="connsiteY1" fmla="*/ 0 h 171450"/>
              <a:gd name="connsiteX2" fmla="*/ 1188468 w 1188468"/>
              <a:gd name="connsiteY2" fmla="*/ 0 h 171450"/>
              <a:gd name="connsiteX3" fmla="*/ 1089235 w 1188468"/>
              <a:gd name="connsiteY3" fmla="*/ 171450 h 171450"/>
              <a:gd name="connsiteX4" fmla="*/ 816864 w 1188468"/>
              <a:gd name="connsiteY4" fmla="*/ 171450 h 171450"/>
              <a:gd name="connsiteX5" fmla="*/ 237145 w 1188468"/>
              <a:gd name="connsiteY5" fmla="*/ 171450 h 171450"/>
              <a:gd name="connsiteX6" fmla="*/ 0 w 1188468"/>
              <a:gd name="connsiteY6" fmla="*/ 171450 h 171450"/>
              <a:gd name="connsiteX7" fmla="*/ 0 w 1188468"/>
              <a:gd name="connsiteY7" fmla="*/ 0 h 171450"/>
              <a:gd name="connsiteX0" fmla="*/ 0 w 1188468"/>
              <a:gd name="connsiteY0" fmla="*/ 0 h 171450"/>
              <a:gd name="connsiteX1" fmla="*/ 336134 w 1188468"/>
              <a:gd name="connsiteY1" fmla="*/ 0 h 171450"/>
              <a:gd name="connsiteX2" fmla="*/ 1188468 w 1188468"/>
              <a:gd name="connsiteY2" fmla="*/ 0 h 171450"/>
              <a:gd name="connsiteX3" fmla="*/ 1089235 w 1188468"/>
              <a:gd name="connsiteY3" fmla="*/ 171450 h 171450"/>
              <a:gd name="connsiteX4" fmla="*/ 237145 w 1188468"/>
              <a:gd name="connsiteY4" fmla="*/ 171450 h 171450"/>
              <a:gd name="connsiteX5" fmla="*/ 0 w 1188468"/>
              <a:gd name="connsiteY5" fmla="*/ 171450 h 171450"/>
              <a:gd name="connsiteX6" fmla="*/ 0 w 1188468"/>
              <a:gd name="connsiteY6" fmla="*/ 0 h 171450"/>
              <a:gd name="connsiteX0" fmla="*/ 0 w 1188468"/>
              <a:gd name="connsiteY0" fmla="*/ 0 h 171450"/>
              <a:gd name="connsiteX1" fmla="*/ 1188468 w 1188468"/>
              <a:gd name="connsiteY1" fmla="*/ 0 h 171450"/>
              <a:gd name="connsiteX2" fmla="*/ 1089235 w 1188468"/>
              <a:gd name="connsiteY2" fmla="*/ 171450 h 171450"/>
              <a:gd name="connsiteX3" fmla="*/ 237145 w 1188468"/>
              <a:gd name="connsiteY3" fmla="*/ 171450 h 171450"/>
              <a:gd name="connsiteX4" fmla="*/ 0 w 1188468"/>
              <a:gd name="connsiteY4" fmla="*/ 171450 h 171450"/>
              <a:gd name="connsiteX5" fmla="*/ 0 w 1188468"/>
              <a:gd name="connsiteY5" fmla="*/ 0 h 171450"/>
              <a:gd name="connsiteX0" fmla="*/ 0 w 1188468"/>
              <a:gd name="connsiteY0" fmla="*/ 0 h 171450"/>
              <a:gd name="connsiteX1" fmla="*/ 1188468 w 1188468"/>
              <a:gd name="connsiteY1" fmla="*/ 0 h 171450"/>
              <a:gd name="connsiteX2" fmla="*/ 1089235 w 1188468"/>
              <a:gd name="connsiteY2" fmla="*/ 171450 h 171450"/>
              <a:gd name="connsiteX3" fmla="*/ 0 w 1188468"/>
              <a:gd name="connsiteY3" fmla="*/ 171450 h 171450"/>
              <a:gd name="connsiteX4" fmla="*/ 0 w 1188468"/>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468" h="171450">
                <a:moveTo>
                  <a:pt x="0" y="0"/>
                </a:moveTo>
                <a:lnTo>
                  <a:pt x="1188468" y="0"/>
                </a:lnTo>
                <a:lnTo>
                  <a:pt x="1089235" y="171450"/>
                </a:lnTo>
                <a:lnTo>
                  <a:pt x="0" y="171450"/>
                </a:lnTo>
                <a:lnTo>
                  <a:pt x="0" y="0"/>
                </a:lnTo>
                <a:close/>
              </a:path>
            </a:pathLst>
          </a:custGeom>
          <a:solidFill>
            <a:schemeClr val="bg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8" name="Rectangle 17"/>
          <p:cNvSpPr/>
          <p:nvPr/>
        </p:nvSpPr>
        <p:spPr bwMode="auto">
          <a:xfrm>
            <a:off x="8139112" y="0"/>
            <a:ext cx="1004886" cy="171450"/>
          </a:xfrm>
          <a:custGeom>
            <a:avLst/>
            <a:gdLst>
              <a:gd name="connsiteX0" fmla="*/ 99233 w 1004886"/>
              <a:gd name="connsiteY0" fmla="*/ 0 h 171450"/>
              <a:gd name="connsiteX1" fmla="*/ 456246 w 1004886"/>
              <a:gd name="connsiteY1" fmla="*/ 0 h 171450"/>
              <a:gd name="connsiteX2" fmla="*/ 496998 w 1004886"/>
              <a:gd name="connsiteY2" fmla="*/ 0 h 171450"/>
              <a:gd name="connsiteX3" fmla="*/ 828773 w 1004886"/>
              <a:gd name="connsiteY3" fmla="*/ 0 h 171450"/>
              <a:gd name="connsiteX4" fmla="*/ 1004886 w 1004886"/>
              <a:gd name="connsiteY4" fmla="*/ 0 h 171450"/>
              <a:gd name="connsiteX5" fmla="*/ 1004886 w 1004886"/>
              <a:gd name="connsiteY5" fmla="*/ 171450 h 171450"/>
              <a:gd name="connsiteX6" fmla="*/ 729540 w 1004886"/>
              <a:gd name="connsiteY6" fmla="*/ 171450 h 171450"/>
              <a:gd name="connsiteX7" fmla="*/ 555354 w 1004886"/>
              <a:gd name="connsiteY7" fmla="*/ 171450 h 171450"/>
              <a:gd name="connsiteX8" fmla="*/ 539405 w 1004886"/>
              <a:gd name="connsiteY8" fmla="*/ 171450 h 171450"/>
              <a:gd name="connsiteX9" fmla="*/ 464521 w 1004886"/>
              <a:gd name="connsiteY9" fmla="*/ 171450 h 171450"/>
              <a:gd name="connsiteX10" fmla="*/ 0 w 1004886"/>
              <a:gd name="connsiteY10" fmla="*/ 171450 h 171450"/>
              <a:gd name="connsiteX11" fmla="*/ 99233 w 1004886"/>
              <a:gd name="connsiteY11" fmla="*/ 0 h 171450"/>
              <a:gd name="connsiteX0" fmla="*/ 99233 w 1004886"/>
              <a:gd name="connsiteY0" fmla="*/ 0 h 171450"/>
              <a:gd name="connsiteX1" fmla="*/ 456246 w 1004886"/>
              <a:gd name="connsiteY1" fmla="*/ 0 h 171450"/>
              <a:gd name="connsiteX2" fmla="*/ 828773 w 1004886"/>
              <a:gd name="connsiteY2" fmla="*/ 0 h 171450"/>
              <a:gd name="connsiteX3" fmla="*/ 1004886 w 1004886"/>
              <a:gd name="connsiteY3" fmla="*/ 0 h 171450"/>
              <a:gd name="connsiteX4" fmla="*/ 1004886 w 1004886"/>
              <a:gd name="connsiteY4" fmla="*/ 171450 h 171450"/>
              <a:gd name="connsiteX5" fmla="*/ 729540 w 1004886"/>
              <a:gd name="connsiteY5" fmla="*/ 171450 h 171450"/>
              <a:gd name="connsiteX6" fmla="*/ 555354 w 1004886"/>
              <a:gd name="connsiteY6" fmla="*/ 171450 h 171450"/>
              <a:gd name="connsiteX7" fmla="*/ 539405 w 1004886"/>
              <a:gd name="connsiteY7" fmla="*/ 171450 h 171450"/>
              <a:gd name="connsiteX8" fmla="*/ 464521 w 1004886"/>
              <a:gd name="connsiteY8" fmla="*/ 171450 h 171450"/>
              <a:gd name="connsiteX9" fmla="*/ 0 w 1004886"/>
              <a:gd name="connsiteY9" fmla="*/ 171450 h 171450"/>
              <a:gd name="connsiteX10" fmla="*/ 99233 w 1004886"/>
              <a:gd name="connsiteY10" fmla="*/ 0 h 171450"/>
              <a:gd name="connsiteX0" fmla="*/ 99233 w 1004886"/>
              <a:gd name="connsiteY0" fmla="*/ 0 h 171450"/>
              <a:gd name="connsiteX1" fmla="*/ 828773 w 1004886"/>
              <a:gd name="connsiteY1" fmla="*/ 0 h 171450"/>
              <a:gd name="connsiteX2" fmla="*/ 1004886 w 1004886"/>
              <a:gd name="connsiteY2" fmla="*/ 0 h 171450"/>
              <a:gd name="connsiteX3" fmla="*/ 1004886 w 1004886"/>
              <a:gd name="connsiteY3" fmla="*/ 171450 h 171450"/>
              <a:gd name="connsiteX4" fmla="*/ 729540 w 1004886"/>
              <a:gd name="connsiteY4" fmla="*/ 171450 h 171450"/>
              <a:gd name="connsiteX5" fmla="*/ 555354 w 1004886"/>
              <a:gd name="connsiteY5" fmla="*/ 171450 h 171450"/>
              <a:gd name="connsiteX6" fmla="*/ 539405 w 1004886"/>
              <a:gd name="connsiteY6" fmla="*/ 171450 h 171450"/>
              <a:gd name="connsiteX7" fmla="*/ 464521 w 1004886"/>
              <a:gd name="connsiteY7" fmla="*/ 171450 h 171450"/>
              <a:gd name="connsiteX8" fmla="*/ 0 w 1004886"/>
              <a:gd name="connsiteY8" fmla="*/ 171450 h 171450"/>
              <a:gd name="connsiteX9" fmla="*/ 99233 w 1004886"/>
              <a:gd name="connsiteY9" fmla="*/ 0 h 171450"/>
              <a:gd name="connsiteX0" fmla="*/ 99233 w 1004886"/>
              <a:gd name="connsiteY0" fmla="*/ 0 h 171450"/>
              <a:gd name="connsiteX1" fmla="*/ 1004886 w 1004886"/>
              <a:gd name="connsiteY1" fmla="*/ 0 h 171450"/>
              <a:gd name="connsiteX2" fmla="*/ 1004886 w 1004886"/>
              <a:gd name="connsiteY2" fmla="*/ 171450 h 171450"/>
              <a:gd name="connsiteX3" fmla="*/ 729540 w 1004886"/>
              <a:gd name="connsiteY3" fmla="*/ 171450 h 171450"/>
              <a:gd name="connsiteX4" fmla="*/ 555354 w 1004886"/>
              <a:gd name="connsiteY4" fmla="*/ 171450 h 171450"/>
              <a:gd name="connsiteX5" fmla="*/ 539405 w 1004886"/>
              <a:gd name="connsiteY5" fmla="*/ 171450 h 171450"/>
              <a:gd name="connsiteX6" fmla="*/ 464521 w 1004886"/>
              <a:gd name="connsiteY6" fmla="*/ 171450 h 171450"/>
              <a:gd name="connsiteX7" fmla="*/ 0 w 1004886"/>
              <a:gd name="connsiteY7" fmla="*/ 171450 h 171450"/>
              <a:gd name="connsiteX8" fmla="*/ 99233 w 1004886"/>
              <a:gd name="connsiteY8" fmla="*/ 0 h 171450"/>
              <a:gd name="connsiteX0" fmla="*/ 99233 w 1004886"/>
              <a:gd name="connsiteY0" fmla="*/ 0 h 171450"/>
              <a:gd name="connsiteX1" fmla="*/ 1004886 w 1004886"/>
              <a:gd name="connsiteY1" fmla="*/ 0 h 171450"/>
              <a:gd name="connsiteX2" fmla="*/ 1004886 w 1004886"/>
              <a:gd name="connsiteY2" fmla="*/ 171450 h 171450"/>
              <a:gd name="connsiteX3" fmla="*/ 555354 w 1004886"/>
              <a:gd name="connsiteY3" fmla="*/ 171450 h 171450"/>
              <a:gd name="connsiteX4" fmla="*/ 539405 w 1004886"/>
              <a:gd name="connsiteY4" fmla="*/ 171450 h 171450"/>
              <a:gd name="connsiteX5" fmla="*/ 464521 w 1004886"/>
              <a:gd name="connsiteY5" fmla="*/ 171450 h 171450"/>
              <a:gd name="connsiteX6" fmla="*/ 0 w 1004886"/>
              <a:gd name="connsiteY6" fmla="*/ 171450 h 171450"/>
              <a:gd name="connsiteX7" fmla="*/ 99233 w 1004886"/>
              <a:gd name="connsiteY7" fmla="*/ 0 h 171450"/>
              <a:gd name="connsiteX0" fmla="*/ 99233 w 1004886"/>
              <a:gd name="connsiteY0" fmla="*/ 0 h 171450"/>
              <a:gd name="connsiteX1" fmla="*/ 1004886 w 1004886"/>
              <a:gd name="connsiteY1" fmla="*/ 0 h 171450"/>
              <a:gd name="connsiteX2" fmla="*/ 1004886 w 1004886"/>
              <a:gd name="connsiteY2" fmla="*/ 171450 h 171450"/>
              <a:gd name="connsiteX3" fmla="*/ 539405 w 1004886"/>
              <a:gd name="connsiteY3" fmla="*/ 171450 h 171450"/>
              <a:gd name="connsiteX4" fmla="*/ 464521 w 1004886"/>
              <a:gd name="connsiteY4" fmla="*/ 171450 h 171450"/>
              <a:gd name="connsiteX5" fmla="*/ 0 w 1004886"/>
              <a:gd name="connsiteY5" fmla="*/ 171450 h 171450"/>
              <a:gd name="connsiteX6" fmla="*/ 99233 w 1004886"/>
              <a:gd name="connsiteY6" fmla="*/ 0 h 171450"/>
              <a:gd name="connsiteX0" fmla="*/ 99233 w 1004886"/>
              <a:gd name="connsiteY0" fmla="*/ 0 h 171450"/>
              <a:gd name="connsiteX1" fmla="*/ 1004886 w 1004886"/>
              <a:gd name="connsiteY1" fmla="*/ 0 h 171450"/>
              <a:gd name="connsiteX2" fmla="*/ 1004886 w 1004886"/>
              <a:gd name="connsiteY2" fmla="*/ 171450 h 171450"/>
              <a:gd name="connsiteX3" fmla="*/ 464521 w 1004886"/>
              <a:gd name="connsiteY3" fmla="*/ 171450 h 171450"/>
              <a:gd name="connsiteX4" fmla="*/ 0 w 1004886"/>
              <a:gd name="connsiteY4" fmla="*/ 171450 h 171450"/>
              <a:gd name="connsiteX5" fmla="*/ 99233 w 1004886"/>
              <a:gd name="connsiteY5" fmla="*/ 0 h 171450"/>
              <a:gd name="connsiteX0" fmla="*/ 99233 w 1004886"/>
              <a:gd name="connsiteY0" fmla="*/ 0 h 171450"/>
              <a:gd name="connsiteX1" fmla="*/ 1004886 w 1004886"/>
              <a:gd name="connsiteY1" fmla="*/ 0 h 171450"/>
              <a:gd name="connsiteX2" fmla="*/ 1004886 w 1004886"/>
              <a:gd name="connsiteY2" fmla="*/ 171450 h 171450"/>
              <a:gd name="connsiteX3" fmla="*/ 0 w 1004886"/>
              <a:gd name="connsiteY3" fmla="*/ 171450 h 171450"/>
              <a:gd name="connsiteX4" fmla="*/ 99233 w 1004886"/>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86" h="171450">
                <a:moveTo>
                  <a:pt x="99233" y="0"/>
                </a:moveTo>
                <a:lnTo>
                  <a:pt x="1004886" y="0"/>
                </a:lnTo>
                <a:lnTo>
                  <a:pt x="1004886" y="171450"/>
                </a:lnTo>
                <a:lnTo>
                  <a:pt x="0" y="171450"/>
                </a:lnTo>
                <a:lnTo>
                  <a:pt x="99233" y="0"/>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Tree>
    <p:extLst>
      <p:ext uri="{BB962C8B-B14F-4D97-AF65-F5344CB8AC3E}">
        <p14:creationId xmlns:p14="http://schemas.microsoft.com/office/powerpoint/2010/main" val="3651298807"/>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ct val="80000"/>
        </a:lnSpc>
        <a:spcBef>
          <a:spcPct val="0"/>
        </a:spcBef>
        <a:spcAft>
          <a:spcPct val="0"/>
        </a:spcAft>
        <a:defRPr sz="2800" b="0" kern="1200">
          <a:solidFill>
            <a:schemeClr val="tx1"/>
          </a:solidFill>
          <a:latin typeface="+mj-lt"/>
          <a:ea typeface="+mj-ea"/>
          <a:cs typeface="+mj-cs"/>
        </a:defRPr>
      </a:lvl1pPr>
      <a:lvl2pPr algn="l" rtl="0" eaLnBrk="1" fontAlgn="base" hangingPunct="1">
        <a:lnSpc>
          <a:spcPct val="80000"/>
        </a:lnSpc>
        <a:spcBef>
          <a:spcPct val="0"/>
        </a:spcBef>
        <a:spcAft>
          <a:spcPct val="0"/>
        </a:spcAft>
        <a:defRPr sz="3600" b="1">
          <a:solidFill>
            <a:schemeClr val="tx2"/>
          </a:solidFill>
          <a:latin typeface="Oslo" pitchFamily="34" charset="0"/>
        </a:defRPr>
      </a:lvl2pPr>
      <a:lvl3pPr algn="l" rtl="0" eaLnBrk="1" fontAlgn="base" hangingPunct="1">
        <a:lnSpc>
          <a:spcPct val="80000"/>
        </a:lnSpc>
        <a:spcBef>
          <a:spcPct val="0"/>
        </a:spcBef>
        <a:spcAft>
          <a:spcPct val="0"/>
        </a:spcAft>
        <a:defRPr sz="3600" b="1">
          <a:solidFill>
            <a:schemeClr val="tx2"/>
          </a:solidFill>
          <a:latin typeface="Oslo" pitchFamily="34" charset="0"/>
        </a:defRPr>
      </a:lvl3pPr>
      <a:lvl4pPr algn="l" rtl="0" eaLnBrk="1" fontAlgn="base" hangingPunct="1">
        <a:lnSpc>
          <a:spcPct val="80000"/>
        </a:lnSpc>
        <a:spcBef>
          <a:spcPct val="0"/>
        </a:spcBef>
        <a:spcAft>
          <a:spcPct val="0"/>
        </a:spcAft>
        <a:defRPr sz="3600" b="1">
          <a:solidFill>
            <a:schemeClr val="tx2"/>
          </a:solidFill>
          <a:latin typeface="Oslo" pitchFamily="34" charset="0"/>
        </a:defRPr>
      </a:lvl4pPr>
      <a:lvl5pPr algn="l" rtl="0" eaLnBrk="1" fontAlgn="base" hangingPunct="1">
        <a:lnSpc>
          <a:spcPct val="80000"/>
        </a:lnSpc>
        <a:spcBef>
          <a:spcPct val="0"/>
        </a:spcBef>
        <a:spcAft>
          <a:spcPct val="0"/>
        </a:spcAft>
        <a:defRPr sz="3600" b="1">
          <a:solidFill>
            <a:schemeClr val="tx2"/>
          </a:solidFill>
          <a:latin typeface="Oslo" pitchFamily="34" charset="0"/>
        </a:defRPr>
      </a:lvl5pPr>
      <a:lvl6pPr marL="457200" algn="l" rtl="0" eaLnBrk="1" fontAlgn="base" hangingPunct="1">
        <a:lnSpc>
          <a:spcPct val="80000"/>
        </a:lnSpc>
        <a:spcBef>
          <a:spcPct val="0"/>
        </a:spcBef>
        <a:spcAft>
          <a:spcPct val="0"/>
        </a:spcAft>
        <a:defRPr sz="3600" b="1">
          <a:solidFill>
            <a:schemeClr val="tx2"/>
          </a:solidFill>
          <a:latin typeface="Oslo" pitchFamily="34" charset="0"/>
        </a:defRPr>
      </a:lvl6pPr>
      <a:lvl7pPr marL="914400" algn="l" rtl="0" eaLnBrk="1" fontAlgn="base" hangingPunct="1">
        <a:lnSpc>
          <a:spcPct val="80000"/>
        </a:lnSpc>
        <a:spcBef>
          <a:spcPct val="0"/>
        </a:spcBef>
        <a:spcAft>
          <a:spcPct val="0"/>
        </a:spcAft>
        <a:defRPr sz="3600" b="1">
          <a:solidFill>
            <a:schemeClr val="tx2"/>
          </a:solidFill>
          <a:latin typeface="Oslo" pitchFamily="34" charset="0"/>
        </a:defRPr>
      </a:lvl7pPr>
      <a:lvl8pPr marL="1371600" algn="l" rtl="0" eaLnBrk="1" fontAlgn="base" hangingPunct="1">
        <a:lnSpc>
          <a:spcPct val="80000"/>
        </a:lnSpc>
        <a:spcBef>
          <a:spcPct val="0"/>
        </a:spcBef>
        <a:spcAft>
          <a:spcPct val="0"/>
        </a:spcAft>
        <a:defRPr sz="3600" b="1">
          <a:solidFill>
            <a:schemeClr val="tx2"/>
          </a:solidFill>
          <a:latin typeface="Oslo" pitchFamily="34" charset="0"/>
        </a:defRPr>
      </a:lvl8pPr>
      <a:lvl9pPr marL="1828800" algn="l" rtl="0" eaLnBrk="1" fontAlgn="base" hangingPunct="1">
        <a:lnSpc>
          <a:spcPct val="80000"/>
        </a:lnSpc>
        <a:spcBef>
          <a:spcPct val="0"/>
        </a:spcBef>
        <a:spcAft>
          <a:spcPct val="0"/>
        </a:spcAft>
        <a:defRPr sz="3600" b="1">
          <a:solidFill>
            <a:schemeClr val="tx2"/>
          </a:solidFill>
          <a:latin typeface="Oslo" pitchFamily="34" charset="0"/>
        </a:defRPr>
      </a:lvl9pPr>
    </p:titleStyle>
    <p:bodyStyle>
      <a:lvl1pPr marL="173038" indent="-173038" algn="l" rtl="0" eaLnBrk="1" fontAlgn="base" hangingPunct="1">
        <a:spcBef>
          <a:spcPts val="1200"/>
        </a:spcBef>
        <a:spcAft>
          <a:spcPct val="0"/>
        </a:spcAft>
        <a:buClr>
          <a:schemeClr val="accent1"/>
        </a:buClr>
        <a:buSzPct val="100000"/>
        <a:buFont typeface="Arial" panose="020B0604020202020204" pitchFamily="34" charset="0"/>
        <a:buChar char="•"/>
        <a:defRPr sz="1800" b="0" kern="1200">
          <a:solidFill>
            <a:schemeClr val="accent1"/>
          </a:solidFill>
          <a:latin typeface="+mn-lt"/>
          <a:ea typeface="+mn-ea"/>
          <a:cs typeface="+mn-cs"/>
        </a:defRPr>
      </a:lvl1pPr>
      <a:lvl2pPr marL="457200" indent="-223838" algn="l" rtl="0" eaLnBrk="1" fontAlgn="base" hangingPunct="1">
        <a:spcBef>
          <a:spcPts val="0"/>
        </a:spcBef>
        <a:spcAft>
          <a:spcPts val="400"/>
        </a:spcAft>
        <a:buClr>
          <a:schemeClr val="accent1"/>
        </a:buClr>
        <a:buSzPct val="100000"/>
        <a:buFont typeface="Arial" panose="020B0604020202020204" pitchFamily="34" charset="0"/>
        <a:buChar char="–"/>
        <a:defRPr sz="1600" kern="1200">
          <a:solidFill>
            <a:schemeClr val="tx1"/>
          </a:solidFill>
          <a:latin typeface="+mn-lt"/>
          <a:ea typeface="+mn-ea"/>
          <a:cs typeface="+mn-cs"/>
        </a:defRPr>
      </a:lvl2pPr>
      <a:lvl3pPr marL="690563" indent="-233363" algn="l" rtl="0" eaLnBrk="1" fontAlgn="base" hangingPunct="1">
        <a:spcBef>
          <a:spcPts val="0"/>
        </a:spcBef>
        <a:spcAft>
          <a:spcPts val="200"/>
        </a:spcAft>
        <a:buClr>
          <a:schemeClr val="accent1"/>
        </a:buClr>
        <a:buSzPct val="100000"/>
        <a:buFont typeface="Arial" panose="020B0604020202020204" pitchFamily="34" charset="0"/>
        <a:buChar char="»"/>
        <a:defRPr sz="1600" kern="1200">
          <a:solidFill>
            <a:schemeClr val="tx1"/>
          </a:solidFill>
          <a:latin typeface="+mn-lt"/>
          <a:ea typeface="+mn-ea"/>
          <a:cs typeface="+mn-cs"/>
        </a:defRPr>
      </a:lvl3pPr>
      <a:lvl4pPr marL="914400" indent="-223838" algn="l" rtl="0" eaLnBrk="1" fontAlgn="base" hangingPunct="1">
        <a:spcBef>
          <a:spcPts val="0"/>
        </a:spcBef>
        <a:spcAft>
          <a:spcPts val="300"/>
        </a:spcAft>
        <a:buClr>
          <a:schemeClr val="accent1"/>
        </a:buClr>
        <a:buSzPct val="100000"/>
        <a:buFont typeface="Arial" panose="020B0604020202020204" pitchFamily="34" charset="0"/>
        <a:buChar char="•"/>
        <a:defRPr sz="1400" kern="1200">
          <a:solidFill>
            <a:schemeClr val="tx1"/>
          </a:solidFill>
          <a:latin typeface="+mn-lt"/>
          <a:ea typeface="+mn-ea"/>
          <a:cs typeface="+mn-cs"/>
        </a:defRPr>
      </a:lvl4pPr>
      <a:lvl5pPr marL="1147763" indent="-233363" algn="l" rtl="0" eaLnBrk="1" fontAlgn="base" hangingPunct="1">
        <a:spcBef>
          <a:spcPts val="0"/>
        </a:spcBef>
        <a:spcAft>
          <a:spcPts val="300"/>
        </a:spcAft>
        <a:buClr>
          <a:schemeClr val="accent1"/>
        </a:buClr>
        <a:buSzPct val="100000"/>
        <a:buFont typeface="Arial" panose="020B0604020202020204" pitchFamily="34" charset="0"/>
        <a:buChar char="–"/>
        <a:defRPr sz="1400" kern="1200">
          <a:solidFill>
            <a:schemeClr val="tx1"/>
          </a:solidFill>
          <a:latin typeface="+mn-lt"/>
          <a:ea typeface="+mn-ea"/>
          <a:cs typeface="+mn-cs"/>
        </a:defRPr>
      </a:lvl5pPr>
      <a:lvl6pPr marL="1168400" indent="-177800" algn="l" defTabSz="914400" rtl="0" eaLnBrk="1" latinLnBrk="0" hangingPunct="1">
        <a:spcBef>
          <a:spcPct val="20000"/>
        </a:spcBef>
        <a:buClr>
          <a:schemeClr val="accent2"/>
        </a:buClr>
        <a:buSzPct val="100000"/>
        <a:buFont typeface="Oslo" pitchFamily="34" charset="0"/>
        <a:buChar char="–"/>
        <a:defRPr sz="1400" kern="1200" baseline="0">
          <a:solidFill>
            <a:schemeClr val="tx1"/>
          </a:solidFill>
          <a:latin typeface="+mn-lt"/>
          <a:ea typeface="+mn-ea"/>
          <a:cs typeface="+mn-cs"/>
        </a:defRPr>
      </a:lvl6pPr>
      <a:lvl7pPr marL="1312863" indent="-144463" algn="l" defTabSz="914400" rtl="0" eaLnBrk="1" latinLnBrk="0" hangingPunct="1">
        <a:spcBef>
          <a:spcPct val="20000"/>
        </a:spcBef>
        <a:buClr>
          <a:schemeClr val="accent2"/>
        </a:buClr>
        <a:buSzPct val="100000"/>
        <a:buFont typeface="Arial" pitchFamily="34" charset="0"/>
        <a:buChar char="•"/>
        <a:defRPr sz="1400" kern="1200" baseline="0">
          <a:solidFill>
            <a:schemeClr val="tx1"/>
          </a:solidFill>
          <a:latin typeface="+mn-lt"/>
          <a:ea typeface="+mn-ea"/>
          <a:cs typeface="+mn-cs"/>
        </a:defRPr>
      </a:lvl7pPr>
      <a:lvl8pPr marL="1481138" indent="-160338" algn="l" defTabSz="914400" rtl="0" eaLnBrk="1" latinLnBrk="0" hangingPunct="1">
        <a:spcBef>
          <a:spcPct val="20000"/>
        </a:spcBef>
        <a:buClr>
          <a:schemeClr val="accent2"/>
        </a:buClr>
        <a:buSzPct val="100000"/>
        <a:buFont typeface="Oslo" pitchFamily="34" charset="0"/>
        <a:buChar char="–"/>
        <a:defRPr sz="1400" kern="1200" baseline="0">
          <a:solidFill>
            <a:schemeClr val="tx1"/>
          </a:solidFill>
          <a:latin typeface="+mn-lt"/>
          <a:ea typeface="+mn-ea"/>
          <a:cs typeface="+mn-cs"/>
        </a:defRPr>
      </a:lvl8pPr>
      <a:lvl9pPr marL="1490663" indent="0" algn="l" defTabSz="914400" rtl="0" eaLnBrk="1" latinLnBrk="0" hangingPunct="1">
        <a:spcBef>
          <a:spcPct val="20000"/>
        </a:spcBef>
        <a:buClr>
          <a:schemeClr val="accent2"/>
        </a:buClr>
        <a:buSzPct val="100000"/>
        <a:buFont typeface="Arial" pitchFamily="34" charset="0"/>
        <a:buNone/>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17"/>
          <p:cNvSpPr/>
          <p:nvPr/>
        </p:nvSpPr>
        <p:spPr bwMode="auto">
          <a:xfrm>
            <a:off x="6409826" y="0"/>
            <a:ext cx="828773" cy="171450"/>
          </a:xfrm>
          <a:custGeom>
            <a:avLst/>
            <a:gdLst/>
            <a:ahLst/>
            <a:cxnLst/>
            <a:rect l="l" t="t" r="r" b="b"/>
            <a:pathLst>
              <a:path w="828773" h="171450">
                <a:moveTo>
                  <a:pt x="99233" y="0"/>
                </a:moveTo>
                <a:lnTo>
                  <a:pt x="828773" y="0"/>
                </a:lnTo>
                <a:lnTo>
                  <a:pt x="729540" y="171450"/>
                </a:lnTo>
                <a:lnTo>
                  <a:pt x="0" y="171450"/>
                </a:lnTo>
                <a:close/>
              </a:path>
            </a:pathLst>
          </a:custGeom>
          <a:solidFill>
            <a:schemeClr val="accent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7" name="Rectangle 17"/>
          <p:cNvSpPr/>
          <p:nvPr/>
        </p:nvSpPr>
        <p:spPr bwMode="auto">
          <a:xfrm>
            <a:off x="0" y="0"/>
            <a:ext cx="6579109" cy="171450"/>
          </a:xfrm>
          <a:custGeom>
            <a:avLst/>
            <a:gdLst/>
            <a:ahLst/>
            <a:cxnLst/>
            <a:rect l="l" t="t" r="r" b="b"/>
            <a:pathLst>
              <a:path w="6579109" h="171450">
                <a:moveTo>
                  <a:pt x="0" y="0"/>
                </a:moveTo>
                <a:lnTo>
                  <a:pt x="5390641" y="0"/>
                </a:lnTo>
                <a:lnTo>
                  <a:pt x="6090420" y="0"/>
                </a:lnTo>
                <a:lnTo>
                  <a:pt x="6579109" y="0"/>
                </a:lnTo>
                <a:lnTo>
                  <a:pt x="6479876" y="171450"/>
                </a:lnTo>
                <a:lnTo>
                  <a:pt x="5581891" y="171450"/>
                </a:lnTo>
                <a:lnTo>
                  <a:pt x="5390641" y="171450"/>
                </a:lnTo>
                <a:lnTo>
                  <a:pt x="0" y="171450"/>
                </a:lnTo>
                <a:close/>
              </a:path>
            </a:pathLst>
          </a:cu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32" name="Rectangle 17"/>
          <p:cNvSpPr/>
          <p:nvPr/>
        </p:nvSpPr>
        <p:spPr bwMode="auto">
          <a:xfrm>
            <a:off x="7092280" y="0"/>
            <a:ext cx="2051718" cy="171450"/>
          </a:xfrm>
          <a:custGeom>
            <a:avLst/>
            <a:gdLst/>
            <a:ahLst/>
            <a:cxnLst/>
            <a:rect l="l" t="t" r="r" b="b"/>
            <a:pathLst>
              <a:path w="2051718" h="171450">
                <a:moveTo>
                  <a:pt x="99233" y="0"/>
                </a:moveTo>
                <a:lnTo>
                  <a:pt x="675297" y="0"/>
                </a:lnTo>
                <a:lnTo>
                  <a:pt x="828773" y="0"/>
                </a:lnTo>
                <a:lnTo>
                  <a:pt x="1146065" y="0"/>
                </a:lnTo>
                <a:lnTo>
                  <a:pt x="1404837" y="0"/>
                </a:lnTo>
                <a:lnTo>
                  <a:pt x="2051718" y="0"/>
                </a:lnTo>
                <a:lnTo>
                  <a:pt x="2051718" y="171450"/>
                </a:lnTo>
                <a:lnTo>
                  <a:pt x="1305604" y="171450"/>
                </a:lnTo>
                <a:lnTo>
                  <a:pt x="1046832" y="171450"/>
                </a:lnTo>
                <a:lnTo>
                  <a:pt x="576064" y="171450"/>
                </a:lnTo>
                <a:lnTo>
                  <a:pt x="576064" y="171450"/>
                </a:lnTo>
                <a:lnTo>
                  <a:pt x="0" y="171450"/>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aphicFrame>
        <p:nvGraphicFramePr>
          <p:cNvPr id="2" name="Object 1" hidden="1"/>
          <p:cNvGraphicFramePr>
            <a:graphicFrameLocks noChangeAspect="1"/>
          </p:cNvGraphicFramePr>
          <p:nvPr>
            <p:custDataLst>
              <p:tags r:id="rId28"/>
            </p:custDataLst>
            <p:extLst>
              <p:ext uri="{D42A27DB-BD31-4B8C-83A1-F6EECF244321}">
                <p14:modId xmlns:p14="http://schemas.microsoft.com/office/powerpoint/2010/main" val="115797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5"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1030" name="Title Placeholder 1"/>
          <p:cNvSpPr>
            <a:spLocks noGrp="1"/>
          </p:cNvSpPr>
          <p:nvPr>
            <p:ph type="title"/>
          </p:nvPr>
        </p:nvSpPr>
        <p:spPr bwMode="auto">
          <a:xfrm>
            <a:off x="363538" y="279495"/>
            <a:ext cx="8432800" cy="689420"/>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noProof="0" dirty="0"/>
              <a:t>Headline – Arial 36pt Bold</a:t>
            </a:r>
            <a:br>
              <a:rPr lang="en-US" noProof="0" dirty="0"/>
            </a:br>
            <a:r>
              <a:rPr lang="en-US" noProof="0" dirty="0"/>
              <a:t>Space for 2 lines</a:t>
            </a:r>
          </a:p>
        </p:txBody>
      </p:sp>
      <p:sp>
        <p:nvSpPr>
          <p:cNvPr id="3" name="Text Placeholder 2"/>
          <p:cNvSpPr>
            <a:spLocks noGrp="1"/>
          </p:cNvSpPr>
          <p:nvPr>
            <p:ph type="body" idx="1"/>
          </p:nvPr>
        </p:nvSpPr>
        <p:spPr>
          <a:xfrm>
            <a:off x="363538" y="1073150"/>
            <a:ext cx="8432800" cy="5285741"/>
          </a:xfrm>
          <a:prstGeom prst="rect">
            <a:avLst/>
          </a:prstGeom>
        </p:spPr>
        <p:txBody>
          <a:bodyPr vert="horz" lIns="0" tIns="0" rIns="0" bIns="0" rtlCol="0">
            <a:noAutofit/>
          </a:bodyPr>
          <a:lstStyle/>
          <a:p>
            <a:pPr lvl="0"/>
            <a:r>
              <a:rPr lang="en-US" noProof="0" dirty="0"/>
              <a:t>First level – 18pt</a:t>
            </a:r>
          </a:p>
          <a:p>
            <a:pPr lvl="1"/>
            <a:r>
              <a:rPr lang="en-US" noProof="0" dirty="0"/>
              <a:t>Second level – 16pt</a:t>
            </a:r>
          </a:p>
          <a:p>
            <a:pPr lvl="2"/>
            <a:r>
              <a:rPr lang="en-US" noProof="0" dirty="0"/>
              <a:t>Third level – 16pt</a:t>
            </a:r>
          </a:p>
          <a:p>
            <a:pPr lvl="3"/>
            <a:r>
              <a:rPr lang="en-US" noProof="0" dirty="0"/>
              <a:t>Fourth level – 14pt</a:t>
            </a:r>
          </a:p>
          <a:p>
            <a:pPr lvl="4"/>
            <a:r>
              <a:rPr lang="en-US" noProof="0" dirty="0"/>
              <a:t>Fifth level – 14pt</a:t>
            </a:r>
          </a:p>
        </p:txBody>
      </p:sp>
      <p:sp>
        <p:nvSpPr>
          <p:cNvPr id="21" name="TextBox 20"/>
          <p:cNvSpPr txBox="1"/>
          <p:nvPr/>
        </p:nvSpPr>
        <p:spPr>
          <a:xfrm>
            <a:off x="3214688" y="6517547"/>
            <a:ext cx="2743200" cy="230832"/>
          </a:xfrm>
          <a:prstGeom prst="rect">
            <a:avLst/>
          </a:prstGeom>
          <a:noFill/>
        </p:spPr>
        <p:txBody>
          <a:bodyPr anchor="b">
            <a:spAutoFit/>
          </a:bodyPr>
          <a:lstStyle/>
          <a:p>
            <a:pPr algn="ctr" fontAlgn="auto">
              <a:spcBef>
                <a:spcPts val="0"/>
              </a:spcBef>
              <a:spcAft>
                <a:spcPts val="0"/>
              </a:spcAft>
              <a:defRPr/>
            </a:pPr>
            <a:r>
              <a:rPr lang="en-US" sz="900" kern="0" dirty="0">
                <a:solidFill>
                  <a:srgbClr val="38454F">
                    <a:lumMod val="60000"/>
                    <a:lumOff val="40000"/>
                  </a:srgbClr>
                </a:solidFill>
                <a:latin typeface="Oslo" pitchFamily="34" charset="0"/>
              </a:rPr>
              <a:t>COMPANY CONFIDENTIAL</a:t>
            </a:r>
          </a:p>
        </p:txBody>
      </p:sp>
      <p:sp>
        <p:nvSpPr>
          <p:cNvPr id="23" name="Date Placeholder 3"/>
          <p:cNvSpPr>
            <a:spLocks noGrp="1" noChangeAspect="1"/>
          </p:cNvSpPr>
          <p:nvPr>
            <p:ph type="dt" sz="half" idx="2"/>
          </p:nvPr>
        </p:nvSpPr>
        <p:spPr>
          <a:xfrm>
            <a:off x="7454344" y="6389441"/>
            <a:ext cx="910116" cy="365125"/>
          </a:xfrm>
          <a:prstGeom prst="rect">
            <a:avLst/>
          </a:prstGeom>
        </p:spPr>
        <p:txBody>
          <a:bodyPr vert="horz" lIns="91440" tIns="45720" rIns="91440" bIns="45720" rtlCol="0" anchor="b"/>
          <a:lstStyle>
            <a:lvl1pPr algn="r" fontAlgn="auto">
              <a:spcBef>
                <a:spcPts val="0"/>
              </a:spcBef>
              <a:spcAft>
                <a:spcPts val="0"/>
              </a:spcAft>
              <a:defRPr sz="1000" smtClean="0">
                <a:solidFill>
                  <a:schemeClr val="tx1"/>
                </a:solidFill>
                <a:latin typeface="Oslo" pitchFamily="34" charset="0"/>
              </a:defRPr>
            </a:lvl1pPr>
          </a:lstStyle>
          <a:p>
            <a:pPr>
              <a:defRPr/>
            </a:pPr>
            <a:endParaRPr lang="en-US" dirty="0">
              <a:solidFill>
                <a:srgbClr val="38454F"/>
              </a:solidFill>
            </a:endParaRPr>
          </a:p>
        </p:txBody>
      </p:sp>
      <p:sp>
        <p:nvSpPr>
          <p:cNvPr id="24" name="Slide Number Placeholder 5"/>
          <p:cNvSpPr>
            <a:spLocks noGrp="1" noChangeAspect="1"/>
          </p:cNvSpPr>
          <p:nvPr>
            <p:ph type="sldNum" sz="quarter" idx="4"/>
          </p:nvPr>
        </p:nvSpPr>
        <p:spPr>
          <a:xfrm>
            <a:off x="8379617" y="6389441"/>
            <a:ext cx="523875" cy="365125"/>
          </a:xfrm>
          <a:prstGeom prst="rect">
            <a:avLst/>
          </a:prstGeom>
        </p:spPr>
        <p:txBody>
          <a:bodyPr vert="horz" lIns="91440" tIns="45720" rIns="91440" bIns="45720" rtlCol="0" anchor="b"/>
          <a:lstStyle>
            <a:lvl1pPr algn="r" fontAlgn="auto">
              <a:spcBef>
                <a:spcPts val="0"/>
              </a:spcBef>
              <a:spcAft>
                <a:spcPts val="0"/>
              </a:spcAft>
              <a:defRPr sz="1000" smtClean="0">
                <a:solidFill>
                  <a:schemeClr val="tx1"/>
                </a:solidFill>
                <a:latin typeface="Oslo" pitchFamily="34" charset="0"/>
              </a:defRPr>
            </a:lvl1pPr>
          </a:lstStyle>
          <a:p>
            <a:pPr>
              <a:defRPr/>
            </a:pPr>
            <a:fld id="{91D03FF3-2B9E-4617-A592-48F56EC63E6E}" type="slidenum">
              <a:rPr lang="en-US">
                <a:solidFill>
                  <a:srgbClr val="38454F"/>
                </a:solidFill>
              </a:rPr>
              <a:pPr>
                <a:defRPr/>
              </a:pPr>
              <a:t>‹#›</a:t>
            </a:fld>
            <a:endParaRPr lang="en-US" dirty="0">
              <a:solidFill>
                <a:srgbClr val="38454F"/>
              </a:solidFill>
            </a:endParaRPr>
          </a:p>
        </p:txBody>
      </p:sp>
      <p:sp>
        <p:nvSpPr>
          <p:cNvPr id="18" name="Rectangle 17"/>
          <p:cNvSpPr/>
          <p:nvPr/>
        </p:nvSpPr>
        <p:spPr bwMode="auto">
          <a:xfrm>
            <a:off x="0" y="0"/>
            <a:ext cx="1188468" cy="171450"/>
          </a:xfrm>
          <a:custGeom>
            <a:avLst/>
            <a:gdLst>
              <a:gd name="connsiteX0" fmla="*/ 0 w 1188468"/>
              <a:gd name="connsiteY0" fmla="*/ 0 h 171450"/>
              <a:gd name="connsiteX1" fmla="*/ 336134 w 1188468"/>
              <a:gd name="connsiteY1" fmla="*/ 0 h 171450"/>
              <a:gd name="connsiteX2" fmla="*/ 1188468 w 1188468"/>
              <a:gd name="connsiteY2" fmla="*/ 0 h 171450"/>
              <a:gd name="connsiteX3" fmla="*/ 1168375 w 1188468"/>
              <a:gd name="connsiteY3" fmla="*/ 34787 h 171450"/>
              <a:gd name="connsiteX4" fmla="*/ 1089235 w 1188468"/>
              <a:gd name="connsiteY4" fmla="*/ 171450 h 171450"/>
              <a:gd name="connsiteX5" fmla="*/ 816864 w 1188468"/>
              <a:gd name="connsiteY5" fmla="*/ 171450 h 171450"/>
              <a:gd name="connsiteX6" fmla="*/ 237145 w 1188468"/>
              <a:gd name="connsiteY6" fmla="*/ 171450 h 171450"/>
              <a:gd name="connsiteX7" fmla="*/ 0 w 1188468"/>
              <a:gd name="connsiteY7" fmla="*/ 171450 h 171450"/>
              <a:gd name="connsiteX8" fmla="*/ 0 w 1188468"/>
              <a:gd name="connsiteY8" fmla="*/ 0 h 171450"/>
              <a:gd name="connsiteX0" fmla="*/ 0 w 1188468"/>
              <a:gd name="connsiteY0" fmla="*/ 0 h 171450"/>
              <a:gd name="connsiteX1" fmla="*/ 336134 w 1188468"/>
              <a:gd name="connsiteY1" fmla="*/ 0 h 171450"/>
              <a:gd name="connsiteX2" fmla="*/ 1188468 w 1188468"/>
              <a:gd name="connsiteY2" fmla="*/ 0 h 171450"/>
              <a:gd name="connsiteX3" fmla="*/ 1089235 w 1188468"/>
              <a:gd name="connsiteY3" fmla="*/ 171450 h 171450"/>
              <a:gd name="connsiteX4" fmla="*/ 816864 w 1188468"/>
              <a:gd name="connsiteY4" fmla="*/ 171450 h 171450"/>
              <a:gd name="connsiteX5" fmla="*/ 237145 w 1188468"/>
              <a:gd name="connsiteY5" fmla="*/ 171450 h 171450"/>
              <a:gd name="connsiteX6" fmla="*/ 0 w 1188468"/>
              <a:gd name="connsiteY6" fmla="*/ 171450 h 171450"/>
              <a:gd name="connsiteX7" fmla="*/ 0 w 1188468"/>
              <a:gd name="connsiteY7" fmla="*/ 0 h 171450"/>
              <a:gd name="connsiteX0" fmla="*/ 0 w 1188468"/>
              <a:gd name="connsiteY0" fmla="*/ 0 h 171450"/>
              <a:gd name="connsiteX1" fmla="*/ 336134 w 1188468"/>
              <a:gd name="connsiteY1" fmla="*/ 0 h 171450"/>
              <a:gd name="connsiteX2" fmla="*/ 1188468 w 1188468"/>
              <a:gd name="connsiteY2" fmla="*/ 0 h 171450"/>
              <a:gd name="connsiteX3" fmla="*/ 1089235 w 1188468"/>
              <a:gd name="connsiteY3" fmla="*/ 171450 h 171450"/>
              <a:gd name="connsiteX4" fmla="*/ 237145 w 1188468"/>
              <a:gd name="connsiteY4" fmla="*/ 171450 h 171450"/>
              <a:gd name="connsiteX5" fmla="*/ 0 w 1188468"/>
              <a:gd name="connsiteY5" fmla="*/ 171450 h 171450"/>
              <a:gd name="connsiteX6" fmla="*/ 0 w 1188468"/>
              <a:gd name="connsiteY6" fmla="*/ 0 h 171450"/>
              <a:gd name="connsiteX0" fmla="*/ 0 w 1188468"/>
              <a:gd name="connsiteY0" fmla="*/ 0 h 171450"/>
              <a:gd name="connsiteX1" fmla="*/ 1188468 w 1188468"/>
              <a:gd name="connsiteY1" fmla="*/ 0 h 171450"/>
              <a:gd name="connsiteX2" fmla="*/ 1089235 w 1188468"/>
              <a:gd name="connsiteY2" fmla="*/ 171450 h 171450"/>
              <a:gd name="connsiteX3" fmla="*/ 237145 w 1188468"/>
              <a:gd name="connsiteY3" fmla="*/ 171450 h 171450"/>
              <a:gd name="connsiteX4" fmla="*/ 0 w 1188468"/>
              <a:gd name="connsiteY4" fmla="*/ 171450 h 171450"/>
              <a:gd name="connsiteX5" fmla="*/ 0 w 1188468"/>
              <a:gd name="connsiteY5" fmla="*/ 0 h 171450"/>
              <a:gd name="connsiteX0" fmla="*/ 0 w 1188468"/>
              <a:gd name="connsiteY0" fmla="*/ 0 h 171450"/>
              <a:gd name="connsiteX1" fmla="*/ 1188468 w 1188468"/>
              <a:gd name="connsiteY1" fmla="*/ 0 h 171450"/>
              <a:gd name="connsiteX2" fmla="*/ 1089235 w 1188468"/>
              <a:gd name="connsiteY2" fmla="*/ 171450 h 171450"/>
              <a:gd name="connsiteX3" fmla="*/ 0 w 1188468"/>
              <a:gd name="connsiteY3" fmla="*/ 171450 h 171450"/>
              <a:gd name="connsiteX4" fmla="*/ 0 w 1188468"/>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468" h="171450">
                <a:moveTo>
                  <a:pt x="0" y="0"/>
                </a:moveTo>
                <a:lnTo>
                  <a:pt x="1188468" y="0"/>
                </a:lnTo>
                <a:lnTo>
                  <a:pt x="1089235" y="171450"/>
                </a:lnTo>
                <a:lnTo>
                  <a:pt x="0" y="171450"/>
                </a:lnTo>
                <a:lnTo>
                  <a:pt x="0" y="0"/>
                </a:lnTo>
                <a:close/>
              </a:path>
            </a:pathLst>
          </a:custGeom>
          <a:solidFill>
            <a:schemeClr val="bg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8" name="Rectangle 17"/>
          <p:cNvSpPr/>
          <p:nvPr/>
        </p:nvSpPr>
        <p:spPr bwMode="auto">
          <a:xfrm>
            <a:off x="8139112" y="0"/>
            <a:ext cx="1004886" cy="171450"/>
          </a:xfrm>
          <a:custGeom>
            <a:avLst/>
            <a:gdLst>
              <a:gd name="connsiteX0" fmla="*/ 99233 w 1004886"/>
              <a:gd name="connsiteY0" fmla="*/ 0 h 171450"/>
              <a:gd name="connsiteX1" fmla="*/ 456246 w 1004886"/>
              <a:gd name="connsiteY1" fmla="*/ 0 h 171450"/>
              <a:gd name="connsiteX2" fmla="*/ 496998 w 1004886"/>
              <a:gd name="connsiteY2" fmla="*/ 0 h 171450"/>
              <a:gd name="connsiteX3" fmla="*/ 828773 w 1004886"/>
              <a:gd name="connsiteY3" fmla="*/ 0 h 171450"/>
              <a:gd name="connsiteX4" fmla="*/ 1004886 w 1004886"/>
              <a:gd name="connsiteY4" fmla="*/ 0 h 171450"/>
              <a:gd name="connsiteX5" fmla="*/ 1004886 w 1004886"/>
              <a:gd name="connsiteY5" fmla="*/ 171450 h 171450"/>
              <a:gd name="connsiteX6" fmla="*/ 729540 w 1004886"/>
              <a:gd name="connsiteY6" fmla="*/ 171450 h 171450"/>
              <a:gd name="connsiteX7" fmla="*/ 555354 w 1004886"/>
              <a:gd name="connsiteY7" fmla="*/ 171450 h 171450"/>
              <a:gd name="connsiteX8" fmla="*/ 539405 w 1004886"/>
              <a:gd name="connsiteY8" fmla="*/ 171450 h 171450"/>
              <a:gd name="connsiteX9" fmla="*/ 464521 w 1004886"/>
              <a:gd name="connsiteY9" fmla="*/ 171450 h 171450"/>
              <a:gd name="connsiteX10" fmla="*/ 0 w 1004886"/>
              <a:gd name="connsiteY10" fmla="*/ 171450 h 171450"/>
              <a:gd name="connsiteX11" fmla="*/ 99233 w 1004886"/>
              <a:gd name="connsiteY11" fmla="*/ 0 h 171450"/>
              <a:gd name="connsiteX0" fmla="*/ 99233 w 1004886"/>
              <a:gd name="connsiteY0" fmla="*/ 0 h 171450"/>
              <a:gd name="connsiteX1" fmla="*/ 456246 w 1004886"/>
              <a:gd name="connsiteY1" fmla="*/ 0 h 171450"/>
              <a:gd name="connsiteX2" fmla="*/ 828773 w 1004886"/>
              <a:gd name="connsiteY2" fmla="*/ 0 h 171450"/>
              <a:gd name="connsiteX3" fmla="*/ 1004886 w 1004886"/>
              <a:gd name="connsiteY3" fmla="*/ 0 h 171450"/>
              <a:gd name="connsiteX4" fmla="*/ 1004886 w 1004886"/>
              <a:gd name="connsiteY4" fmla="*/ 171450 h 171450"/>
              <a:gd name="connsiteX5" fmla="*/ 729540 w 1004886"/>
              <a:gd name="connsiteY5" fmla="*/ 171450 h 171450"/>
              <a:gd name="connsiteX6" fmla="*/ 555354 w 1004886"/>
              <a:gd name="connsiteY6" fmla="*/ 171450 h 171450"/>
              <a:gd name="connsiteX7" fmla="*/ 539405 w 1004886"/>
              <a:gd name="connsiteY7" fmla="*/ 171450 h 171450"/>
              <a:gd name="connsiteX8" fmla="*/ 464521 w 1004886"/>
              <a:gd name="connsiteY8" fmla="*/ 171450 h 171450"/>
              <a:gd name="connsiteX9" fmla="*/ 0 w 1004886"/>
              <a:gd name="connsiteY9" fmla="*/ 171450 h 171450"/>
              <a:gd name="connsiteX10" fmla="*/ 99233 w 1004886"/>
              <a:gd name="connsiteY10" fmla="*/ 0 h 171450"/>
              <a:gd name="connsiteX0" fmla="*/ 99233 w 1004886"/>
              <a:gd name="connsiteY0" fmla="*/ 0 h 171450"/>
              <a:gd name="connsiteX1" fmla="*/ 828773 w 1004886"/>
              <a:gd name="connsiteY1" fmla="*/ 0 h 171450"/>
              <a:gd name="connsiteX2" fmla="*/ 1004886 w 1004886"/>
              <a:gd name="connsiteY2" fmla="*/ 0 h 171450"/>
              <a:gd name="connsiteX3" fmla="*/ 1004886 w 1004886"/>
              <a:gd name="connsiteY3" fmla="*/ 171450 h 171450"/>
              <a:gd name="connsiteX4" fmla="*/ 729540 w 1004886"/>
              <a:gd name="connsiteY4" fmla="*/ 171450 h 171450"/>
              <a:gd name="connsiteX5" fmla="*/ 555354 w 1004886"/>
              <a:gd name="connsiteY5" fmla="*/ 171450 h 171450"/>
              <a:gd name="connsiteX6" fmla="*/ 539405 w 1004886"/>
              <a:gd name="connsiteY6" fmla="*/ 171450 h 171450"/>
              <a:gd name="connsiteX7" fmla="*/ 464521 w 1004886"/>
              <a:gd name="connsiteY7" fmla="*/ 171450 h 171450"/>
              <a:gd name="connsiteX8" fmla="*/ 0 w 1004886"/>
              <a:gd name="connsiteY8" fmla="*/ 171450 h 171450"/>
              <a:gd name="connsiteX9" fmla="*/ 99233 w 1004886"/>
              <a:gd name="connsiteY9" fmla="*/ 0 h 171450"/>
              <a:gd name="connsiteX0" fmla="*/ 99233 w 1004886"/>
              <a:gd name="connsiteY0" fmla="*/ 0 h 171450"/>
              <a:gd name="connsiteX1" fmla="*/ 1004886 w 1004886"/>
              <a:gd name="connsiteY1" fmla="*/ 0 h 171450"/>
              <a:gd name="connsiteX2" fmla="*/ 1004886 w 1004886"/>
              <a:gd name="connsiteY2" fmla="*/ 171450 h 171450"/>
              <a:gd name="connsiteX3" fmla="*/ 729540 w 1004886"/>
              <a:gd name="connsiteY3" fmla="*/ 171450 h 171450"/>
              <a:gd name="connsiteX4" fmla="*/ 555354 w 1004886"/>
              <a:gd name="connsiteY4" fmla="*/ 171450 h 171450"/>
              <a:gd name="connsiteX5" fmla="*/ 539405 w 1004886"/>
              <a:gd name="connsiteY5" fmla="*/ 171450 h 171450"/>
              <a:gd name="connsiteX6" fmla="*/ 464521 w 1004886"/>
              <a:gd name="connsiteY6" fmla="*/ 171450 h 171450"/>
              <a:gd name="connsiteX7" fmla="*/ 0 w 1004886"/>
              <a:gd name="connsiteY7" fmla="*/ 171450 h 171450"/>
              <a:gd name="connsiteX8" fmla="*/ 99233 w 1004886"/>
              <a:gd name="connsiteY8" fmla="*/ 0 h 171450"/>
              <a:gd name="connsiteX0" fmla="*/ 99233 w 1004886"/>
              <a:gd name="connsiteY0" fmla="*/ 0 h 171450"/>
              <a:gd name="connsiteX1" fmla="*/ 1004886 w 1004886"/>
              <a:gd name="connsiteY1" fmla="*/ 0 h 171450"/>
              <a:gd name="connsiteX2" fmla="*/ 1004886 w 1004886"/>
              <a:gd name="connsiteY2" fmla="*/ 171450 h 171450"/>
              <a:gd name="connsiteX3" fmla="*/ 555354 w 1004886"/>
              <a:gd name="connsiteY3" fmla="*/ 171450 h 171450"/>
              <a:gd name="connsiteX4" fmla="*/ 539405 w 1004886"/>
              <a:gd name="connsiteY4" fmla="*/ 171450 h 171450"/>
              <a:gd name="connsiteX5" fmla="*/ 464521 w 1004886"/>
              <a:gd name="connsiteY5" fmla="*/ 171450 h 171450"/>
              <a:gd name="connsiteX6" fmla="*/ 0 w 1004886"/>
              <a:gd name="connsiteY6" fmla="*/ 171450 h 171450"/>
              <a:gd name="connsiteX7" fmla="*/ 99233 w 1004886"/>
              <a:gd name="connsiteY7" fmla="*/ 0 h 171450"/>
              <a:gd name="connsiteX0" fmla="*/ 99233 w 1004886"/>
              <a:gd name="connsiteY0" fmla="*/ 0 h 171450"/>
              <a:gd name="connsiteX1" fmla="*/ 1004886 w 1004886"/>
              <a:gd name="connsiteY1" fmla="*/ 0 h 171450"/>
              <a:gd name="connsiteX2" fmla="*/ 1004886 w 1004886"/>
              <a:gd name="connsiteY2" fmla="*/ 171450 h 171450"/>
              <a:gd name="connsiteX3" fmla="*/ 539405 w 1004886"/>
              <a:gd name="connsiteY3" fmla="*/ 171450 h 171450"/>
              <a:gd name="connsiteX4" fmla="*/ 464521 w 1004886"/>
              <a:gd name="connsiteY4" fmla="*/ 171450 h 171450"/>
              <a:gd name="connsiteX5" fmla="*/ 0 w 1004886"/>
              <a:gd name="connsiteY5" fmla="*/ 171450 h 171450"/>
              <a:gd name="connsiteX6" fmla="*/ 99233 w 1004886"/>
              <a:gd name="connsiteY6" fmla="*/ 0 h 171450"/>
              <a:gd name="connsiteX0" fmla="*/ 99233 w 1004886"/>
              <a:gd name="connsiteY0" fmla="*/ 0 h 171450"/>
              <a:gd name="connsiteX1" fmla="*/ 1004886 w 1004886"/>
              <a:gd name="connsiteY1" fmla="*/ 0 h 171450"/>
              <a:gd name="connsiteX2" fmla="*/ 1004886 w 1004886"/>
              <a:gd name="connsiteY2" fmla="*/ 171450 h 171450"/>
              <a:gd name="connsiteX3" fmla="*/ 464521 w 1004886"/>
              <a:gd name="connsiteY3" fmla="*/ 171450 h 171450"/>
              <a:gd name="connsiteX4" fmla="*/ 0 w 1004886"/>
              <a:gd name="connsiteY4" fmla="*/ 171450 h 171450"/>
              <a:gd name="connsiteX5" fmla="*/ 99233 w 1004886"/>
              <a:gd name="connsiteY5" fmla="*/ 0 h 171450"/>
              <a:gd name="connsiteX0" fmla="*/ 99233 w 1004886"/>
              <a:gd name="connsiteY0" fmla="*/ 0 h 171450"/>
              <a:gd name="connsiteX1" fmla="*/ 1004886 w 1004886"/>
              <a:gd name="connsiteY1" fmla="*/ 0 h 171450"/>
              <a:gd name="connsiteX2" fmla="*/ 1004886 w 1004886"/>
              <a:gd name="connsiteY2" fmla="*/ 171450 h 171450"/>
              <a:gd name="connsiteX3" fmla="*/ 0 w 1004886"/>
              <a:gd name="connsiteY3" fmla="*/ 171450 h 171450"/>
              <a:gd name="connsiteX4" fmla="*/ 99233 w 1004886"/>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86" h="171450">
                <a:moveTo>
                  <a:pt x="99233" y="0"/>
                </a:moveTo>
                <a:lnTo>
                  <a:pt x="1004886" y="0"/>
                </a:lnTo>
                <a:lnTo>
                  <a:pt x="1004886" y="171450"/>
                </a:lnTo>
                <a:lnTo>
                  <a:pt x="0" y="171450"/>
                </a:lnTo>
                <a:lnTo>
                  <a:pt x="99233" y="0"/>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pSp>
        <p:nvGrpSpPr>
          <p:cNvPr id="33" name="Group 32"/>
          <p:cNvGrpSpPr>
            <a:grpSpLocks noChangeAspect="1"/>
          </p:cNvGrpSpPr>
          <p:nvPr/>
        </p:nvGrpSpPr>
        <p:grpSpPr>
          <a:xfrm>
            <a:off x="374651" y="6431112"/>
            <a:ext cx="1673352" cy="328463"/>
            <a:chOff x="374651" y="6029325"/>
            <a:chExt cx="2054224" cy="403225"/>
          </a:xfrm>
        </p:grpSpPr>
        <p:sp>
          <p:nvSpPr>
            <p:cNvPr id="34"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5"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6" name="Freeform 35"/>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7" name="Freeform 36"/>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8" name="Freeform 37"/>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9" name="Freeform 38"/>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0" name="Freeform 39"/>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1" name="Freeform 40"/>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2"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3"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4"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5"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6"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7"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8"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9"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0"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580774703"/>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ct val="80000"/>
        </a:lnSpc>
        <a:spcBef>
          <a:spcPct val="0"/>
        </a:spcBef>
        <a:spcAft>
          <a:spcPct val="0"/>
        </a:spcAft>
        <a:defRPr sz="2800" b="0" kern="1200">
          <a:solidFill>
            <a:schemeClr val="tx1"/>
          </a:solidFill>
          <a:latin typeface="+mj-lt"/>
          <a:ea typeface="+mj-ea"/>
          <a:cs typeface="+mj-cs"/>
        </a:defRPr>
      </a:lvl1pPr>
      <a:lvl2pPr algn="l" rtl="0" eaLnBrk="1" fontAlgn="base" hangingPunct="1">
        <a:lnSpc>
          <a:spcPct val="80000"/>
        </a:lnSpc>
        <a:spcBef>
          <a:spcPct val="0"/>
        </a:spcBef>
        <a:spcAft>
          <a:spcPct val="0"/>
        </a:spcAft>
        <a:defRPr sz="3600" b="1">
          <a:solidFill>
            <a:schemeClr val="tx2"/>
          </a:solidFill>
          <a:latin typeface="Oslo" pitchFamily="34" charset="0"/>
        </a:defRPr>
      </a:lvl2pPr>
      <a:lvl3pPr algn="l" rtl="0" eaLnBrk="1" fontAlgn="base" hangingPunct="1">
        <a:lnSpc>
          <a:spcPct val="80000"/>
        </a:lnSpc>
        <a:spcBef>
          <a:spcPct val="0"/>
        </a:spcBef>
        <a:spcAft>
          <a:spcPct val="0"/>
        </a:spcAft>
        <a:defRPr sz="3600" b="1">
          <a:solidFill>
            <a:schemeClr val="tx2"/>
          </a:solidFill>
          <a:latin typeface="Oslo" pitchFamily="34" charset="0"/>
        </a:defRPr>
      </a:lvl3pPr>
      <a:lvl4pPr algn="l" rtl="0" eaLnBrk="1" fontAlgn="base" hangingPunct="1">
        <a:lnSpc>
          <a:spcPct val="80000"/>
        </a:lnSpc>
        <a:spcBef>
          <a:spcPct val="0"/>
        </a:spcBef>
        <a:spcAft>
          <a:spcPct val="0"/>
        </a:spcAft>
        <a:defRPr sz="3600" b="1">
          <a:solidFill>
            <a:schemeClr val="tx2"/>
          </a:solidFill>
          <a:latin typeface="Oslo" pitchFamily="34" charset="0"/>
        </a:defRPr>
      </a:lvl4pPr>
      <a:lvl5pPr algn="l" rtl="0" eaLnBrk="1" fontAlgn="base" hangingPunct="1">
        <a:lnSpc>
          <a:spcPct val="80000"/>
        </a:lnSpc>
        <a:spcBef>
          <a:spcPct val="0"/>
        </a:spcBef>
        <a:spcAft>
          <a:spcPct val="0"/>
        </a:spcAft>
        <a:defRPr sz="3600" b="1">
          <a:solidFill>
            <a:schemeClr val="tx2"/>
          </a:solidFill>
          <a:latin typeface="Oslo" pitchFamily="34" charset="0"/>
        </a:defRPr>
      </a:lvl5pPr>
      <a:lvl6pPr marL="457200" algn="l" rtl="0" eaLnBrk="1" fontAlgn="base" hangingPunct="1">
        <a:lnSpc>
          <a:spcPct val="80000"/>
        </a:lnSpc>
        <a:spcBef>
          <a:spcPct val="0"/>
        </a:spcBef>
        <a:spcAft>
          <a:spcPct val="0"/>
        </a:spcAft>
        <a:defRPr sz="3600" b="1">
          <a:solidFill>
            <a:schemeClr val="tx2"/>
          </a:solidFill>
          <a:latin typeface="Oslo" pitchFamily="34" charset="0"/>
        </a:defRPr>
      </a:lvl6pPr>
      <a:lvl7pPr marL="914400" algn="l" rtl="0" eaLnBrk="1" fontAlgn="base" hangingPunct="1">
        <a:lnSpc>
          <a:spcPct val="80000"/>
        </a:lnSpc>
        <a:spcBef>
          <a:spcPct val="0"/>
        </a:spcBef>
        <a:spcAft>
          <a:spcPct val="0"/>
        </a:spcAft>
        <a:defRPr sz="3600" b="1">
          <a:solidFill>
            <a:schemeClr val="tx2"/>
          </a:solidFill>
          <a:latin typeface="Oslo" pitchFamily="34" charset="0"/>
        </a:defRPr>
      </a:lvl7pPr>
      <a:lvl8pPr marL="1371600" algn="l" rtl="0" eaLnBrk="1" fontAlgn="base" hangingPunct="1">
        <a:lnSpc>
          <a:spcPct val="80000"/>
        </a:lnSpc>
        <a:spcBef>
          <a:spcPct val="0"/>
        </a:spcBef>
        <a:spcAft>
          <a:spcPct val="0"/>
        </a:spcAft>
        <a:defRPr sz="3600" b="1">
          <a:solidFill>
            <a:schemeClr val="tx2"/>
          </a:solidFill>
          <a:latin typeface="Oslo" pitchFamily="34" charset="0"/>
        </a:defRPr>
      </a:lvl8pPr>
      <a:lvl9pPr marL="1828800" algn="l" rtl="0" eaLnBrk="1" fontAlgn="base" hangingPunct="1">
        <a:lnSpc>
          <a:spcPct val="80000"/>
        </a:lnSpc>
        <a:spcBef>
          <a:spcPct val="0"/>
        </a:spcBef>
        <a:spcAft>
          <a:spcPct val="0"/>
        </a:spcAft>
        <a:defRPr sz="3600" b="1">
          <a:solidFill>
            <a:schemeClr val="tx2"/>
          </a:solidFill>
          <a:latin typeface="Oslo" pitchFamily="34" charset="0"/>
        </a:defRPr>
      </a:lvl9pPr>
    </p:titleStyle>
    <p:bodyStyle>
      <a:lvl1pPr marL="171450" indent="-171450" algn="l" rtl="0" eaLnBrk="1" fontAlgn="base" hangingPunct="1">
        <a:spcBef>
          <a:spcPts val="1200"/>
        </a:spcBef>
        <a:spcAft>
          <a:spcPct val="0"/>
        </a:spcAft>
        <a:buClr>
          <a:schemeClr val="accent1"/>
        </a:buClr>
        <a:buSzPct val="100000"/>
        <a:buFont typeface="Arial" panose="020B0604020202020204" pitchFamily="34" charset="0"/>
        <a:buChar char="•"/>
        <a:defRPr sz="1800" b="0" kern="1200">
          <a:solidFill>
            <a:schemeClr val="accent1"/>
          </a:solidFill>
          <a:latin typeface="+mn-lt"/>
          <a:ea typeface="+mn-ea"/>
          <a:cs typeface="+mn-cs"/>
        </a:defRPr>
      </a:lvl1pPr>
      <a:lvl2pPr marL="461963" indent="-234950" algn="l" rtl="0" eaLnBrk="1" fontAlgn="base" hangingPunct="1">
        <a:spcBef>
          <a:spcPts val="0"/>
        </a:spcBef>
        <a:spcAft>
          <a:spcPts val="400"/>
        </a:spcAft>
        <a:buClr>
          <a:schemeClr val="accent1"/>
        </a:buClr>
        <a:buSzPct val="100000"/>
        <a:buFont typeface="Arial" panose="020B0604020202020204" pitchFamily="34" charset="0"/>
        <a:buChar char="–"/>
        <a:defRPr sz="1600" kern="1200">
          <a:solidFill>
            <a:schemeClr val="tx1"/>
          </a:solidFill>
          <a:latin typeface="+mn-lt"/>
          <a:ea typeface="+mn-ea"/>
          <a:cs typeface="+mn-cs"/>
        </a:defRPr>
      </a:lvl2pPr>
      <a:lvl3pPr marL="687388" indent="-225425" algn="l" rtl="0" eaLnBrk="1" fontAlgn="base" hangingPunct="1">
        <a:spcBef>
          <a:spcPts val="0"/>
        </a:spcBef>
        <a:spcAft>
          <a:spcPts val="200"/>
        </a:spcAft>
        <a:buClr>
          <a:schemeClr val="accent1"/>
        </a:buClr>
        <a:buSzPct val="100000"/>
        <a:buFont typeface="Arial" panose="020B0604020202020204" pitchFamily="34" charset="0"/>
        <a:buChar char="»"/>
        <a:defRPr sz="1600" kern="1200">
          <a:solidFill>
            <a:schemeClr val="tx1"/>
          </a:solidFill>
          <a:latin typeface="+mn-lt"/>
          <a:ea typeface="+mn-ea"/>
          <a:cs typeface="+mn-cs"/>
        </a:defRPr>
      </a:lvl3pPr>
      <a:lvl4pPr marL="914400" indent="-227013" algn="l" rtl="0" eaLnBrk="1" fontAlgn="base" hangingPunct="1">
        <a:spcBef>
          <a:spcPts val="0"/>
        </a:spcBef>
        <a:spcAft>
          <a:spcPts val="300"/>
        </a:spcAft>
        <a:buClr>
          <a:schemeClr val="accent1"/>
        </a:buClr>
        <a:buSzPct val="100000"/>
        <a:buFont typeface="Arial" panose="020B0604020202020204" pitchFamily="34" charset="0"/>
        <a:buChar char="•"/>
        <a:defRPr sz="1400" kern="1200">
          <a:solidFill>
            <a:schemeClr val="tx1"/>
          </a:solidFill>
          <a:latin typeface="+mn-lt"/>
          <a:ea typeface="+mn-ea"/>
          <a:cs typeface="+mn-cs"/>
        </a:defRPr>
      </a:lvl4pPr>
      <a:lvl5pPr marL="1141413" indent="-227013" algn="l" rtl="0" eaLnBrk="1" fontAlgn="base" hangingPunct="1">
        <a:spcBef>
          <a:spcPts val="0"/>
        </a:spcBef>
        <a:spcAft>
          <a:spcPts val="300"/>
        </a:spcAft>
        <a:buClr>
          <a:schemeClr val="accent1"/>
        </a:buClr>
        <a:buSzPct val="100000"/>
        <a:buFont typeface="Arial" panose="020B0604020202020204" pitchFamily="34" charset="0"/>
        <a:buChar char="–"/>
        <a:defRPr sz="1400" kern="1200">
          <a:solidFill>
            <a:schemeClr val="tx1"/>
          </a:solidFill>
          <a:latin typeface="+mn-lt"/>
          <a:ea typeface="+mn-ea"/>
          <a:cs typeface="+mn-cs"/>
        </a:defRPr>
      </a:lvl5pPr>
      <a:lvl6pPr marL="1168400" indent="-177800" algn="l" defTabSz="914400" rtl="0" eaLnBrk="1" latinLnBrk="0" hangingPunct="1">
        <a:spcBef>
          <a:spcPct val="20000"/>
        </a:spcBef>
        <a:buClr>
          <a:schemeClr val="accent2"/>
        </a:buClr>
        <a:buSzPct val="100000"/>
        <a:buFont typeface="Oslo" pitchFamily="34" charset="0"/>
        <a:buChar char="–"/>
        <a:defRPr sz="1400" kern="1200" baseline="0">
          <a:solidFill>
            <a:schemeClr val="tx1"/>
          </a:solidFill>
          <a:latin typeface="+mn-lt"/>
          <a:ea typeface="+mn-ea"/>
          <a:cs typeface="+mn-cs"/>
        </a:defRPr>
      </a:lvl6pPr>
      <a:lvl7pPr marL="1312863" indent="-144463" algn="l" defTabSz="914400" rtl="0" eaLnBrk="1" latinLnBrk="0" hangingPunct="1">
        <a:spcBef>
          <a:spcPct val="20000"/>
        </a:spcBef>
        <a:buClr>
          <a:schemeClr val="accent2"/>
        </a:buClr>
        <a:buSzPct val="100000"/>
        <a:buFont typeface="Arial" pitchFamily="34" charset="0"/>
        <a:buChar char="•"/>
        <a:defRPr sz="1400" kern="1200" baseline="0">
          <a:solidFill>
            <a:schemeClr val="tx1"/>
          </a:solidFill>
          <a:latin typeface="+mn-lt"/>
          <a:ea typeface="+mn-ea"/>
          <a:cs typeface="+mn-cs"/>
        </a:defRPr>
      </a:lvl7pPr>
      <a:lvl8pPr marL="1481138" indent="-160338" algn="l" defTabSz="914400" rtl="0" eaLnBrk="1" latinLnBrk="0" hangingPunct="1">
        <a:spcBef>
          <a:spcPct val="20000"/>
        </a:spcBef>
        <a:buClr>
          <a:schemeClr val="accent2"/>
        </a:buClr>
        <a:buSzPct val="100000"/>
        <a:buFont typeface="Oslo" pitchFamily="34" charset="0"/>
        <a:buChar char="–"/>
        <a:defRPr sz="1400" kern="1200" baseline="0">
          <a:solidFill>
            <a:schemeClr val="tx1"/>
          </a:solidFill>
          <a:latin typeface="+mn-lt"/>
          <a:ea typeface="+mn-ea"/>
          <a:cs typeface="+mn-cs"/>
        </a:defRPr>
      </a:lvl8pPr>
      <a:lvl9pPr marL="1490663" indent="0" algn="l" defTabSz="914400" rtl="0" eaLnBrk="1" latinLnBrk="0" hangingPunct="1">
        <a:spcBef>
          <a:spcPct val="20000"/>
        </a:spcBef>
        <a:buClr>
          <a:schemeClr val="accent2"/>
        </a:buClr>
        <a:buSzPct val="100000"/>
        <a:buFont typeface="Arial" pitchFamily="34" charset="0"/>
        <a:buNone/>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17"/>
          <p:cNvSpPr/>
          <p:nvPr/>
        </p:nvSpPr>
        <p:spPr bwMode="auto">
          <a:xfrm>
            <a:off x="6409826" y="0"/>
            <a:ext cx="828773" cy="171450"/>
          </a:xfrm>
          <a:custGeom>
            <a:avLst/>
            <a:gdLst/>
            <a:ahLst/>
            <a:cxnLst/>
            <a:rect l="l" t="t" r="r" b="b"/>
            <a:pathLst>
              <a:path w="828773" h="171450">
                <a:moveTo>
                  <a:pt x="99233" y="0"/>
                </a:moveTo>
                <a:lnTo>
                  <a:pt x="828773" y="0"/>
                </a:lnTo>
                <a:lnTo>
                  <a:pt x="729540" y="171450"/>
                </a:lnTo>
                <a:lnTo>
                  <a:pt x="0" y="171450"/>
                </a:lnTo>
                <a:close/>
              </a:path>
            </a:pathLst>
          </a:custGeom>
          <a:solidFill>
            <a:schemeClr val="accent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7" name="Rectangle 17"/>
          <p:cNvSpPr/>
          <p:nvPr/>
        </p:nvSpPr>
        <p:spPr bwMode="auto">
          <a:xfrm>
            <a:off x="0" y="0"/>
            <a:ext cx="6579109" cy="171450"/>
          </a:xfrm>
          <a:custGeom>
            <a:avLst/>
            <a:gdLst/>
            <a:ahLst/>
            <a:cxnLst/>
            <a:rect l="l" t="t" r="r" b="b"/>
            <a:pathLst>
              <a:path w="6579109" h="171450">
                <a:moveTo>
                  <a:pt x="0" y="0"/>
                </a:moveTo>
                <a:lnTo>
                  <a:pt x="5390641" y="0"/>
                </a:lnTo>
                <a:lnTo>
                  <a:pt x="6090420" y="0"/>
                </a:lnTo>
                <a:lnTo>
                  <a:pt x="6579109" y="0"/>
                </a:lnTo>
                <a:lnTo>
                  <a:pt x="6479876" y="171450"/>
                </a:lnTo>
                <a:lnTo>
                  <a:pt x="5581891" y="171450"/>
                </a:lnTo>
                <a:lnTo>
                  <a:pt x="5390641" y="171450"/>
                </a:lnTo>
                <a:lnTo>
                  <a:pt x="0" y="171450"/>
                </a:lnTo>
                <a:close/>
              </a:path>
            </a:pathLst>
          </a:cu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32" name="Rectangle 17"/>
          <p:cNvSpPr/>
          <p:nvPr/>
        </p:nvSpPr>
        <p:spPr bwMode="auto">
          <a:xfrm>
            <a:off x="7092280" y="0"/>
            <a:ext cx="2051718" cy="171450"/>
          </a:xfrm>
          <a:custGeom>
            <a:avLst/>
            <a:gdLst/>
            <a:ahLst/>
            <a:cxnLst/>
            <a:rect l="l" t="t" r="r" b="b"/>
            <a:pathLst>
              <a:path w="2051718" h="171450">
                <a:moveTo>
                  <a:pt x="99233" y="0"/>
                </a:moveTo>
                <a:lnTo>
                  <a:pt x="675297" y="0"/>
                </a:lnTo>
                <a:lnTo>
                  <a:pt x="828773" y="0"/>
                </a:lnTo>
                <a:lnTo>
                  <a:pt x="1146065" y="0"/>
                </a:lnTo>
                <a:lnTo>
                  <a:pt x="1404837" y="0"/>
                </a:lnTo>
                <a:lnTo>
                  <a:pt x="2051718" y="0"/>
                </a:lnTo>
                <a:lnTo>
                  <a:pt x="2051718" y="171450"/>
                </a:lnTo>
                <a:lnTo>
                  <a:pt x="1305604" y="171450"/>
                </a:lnTo>
                <a:lnTo>
                  <a:pt x="1046832" y="171450"/>
                </a:lnTo>
                <a:lnTo>
                  <a:pt x="576064" y="171450"/>
                </a:lnTo>
                <a:lnTo>
                  <a:pt x="576064" y="171450"/>
                </a:lnTo>
                <a:lnTo>
                  <a:pt x="0" y="171450"/>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aphicFrame>
        <p:nvGraphicFramePr>
          <p:cNvPr id="2" name="Object 1" hidden="1"/>
          <p:cNvGraphicFramePr>
            <a:graphicFrameLocks noChangeAspect="1"/>
          </p:cNvGraphicFramePr>
          <p:nvPr>
            <p:custDataLst>
              <p:tags r:id="rId28"/>
            </p:custDataLst>
            <p:extLst>
              <p:ext uri="{D42A27DB-BD31-4B8C-83A1-F6EECF244321}">
                <p14:modId xmlns:p14="http://schemas.microsoft.com/office/powerpoint/2010/main" val="799002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19"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1030" name="Title Placeholder 1"/>
          <p:cNvSpPr>
            <a:spLocks noGrp="1"/>
          </p:cNvSpPr>
          <p:nvPr>
            <p:ph type="title"/>
          </p:nvPr>
        </p:nvSpPr>
        <p:spPr bwMode="auto">
          <a:xfrm>
            <a:off x="363538" y="279495"/>
            <a:ext cx="8432800" cy="689420"/>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noProof="0" dirty="0"/>
              <a:t>Headline – Arial 36pt Bold</a:t>
            </a:r>
            <a:br>
              <a:rPr lang="en-US" noProof="0" dirty="0"/>
            </a:br>
            <a:r>
              <a:rPr lang="en-US" noProof="0" dirty="0"/>
              <a:t>Space for 2 lines</a:t>
            </a:r>
          </a:p>
        </p:txBody>
      </p:sp>
      <p:sp>
        <p:nvSpPr>
          <p:cNvPr id="3" name="Text Placeholder 2"/>
          <p:cNvSpPr>
            <a:spLocks noGrp="1"/>
          </p:cNvSpPr>
          <p:nvPr>
            <p:ph type="body" idx="1"/>
          </p:nvPr>
        </p:nvSpPr>
        <p:spPr>
          <a:xfrm>
            <a:off x="363538" y="1073150"/>
            <a:ext cx="8432800" cy="5285741"/>
          </a:xfrm>
          <a:prstGeom prst="rect">
            <a:avLst/>
          </a:prstGeom>
        </p:spPr>
        <p:txBody>
          <a:bodyPr vert="horz" lIns="0" tIns="0" rIns="0" bIns="0" rtlCol="0">
            <a:noAutofit/>
          </a:bodyPr>
          <a:lstStyle/>
          <a:p>
            <a:pPr lvl="0"/>
            <a:r>
              <a:rPr lang="en-US" noProof="0" dirty="0"/>
              <a:t>First level – 18pt</a:t>
            </a:r>
          </a:p>
          <a:p>
            <a:pPr lvl="1"/>
            <a:r>
              <a:rPr lang="en-US" noProof="0" dirty="0"/>
              <a:t>Second level – 16pt</a:t>
            </a:r>
          </a:p>
          <a:p>
            <a:pPr lvl="2"/>
            <a:r>
              <a:rPr lang="en-US" noProof="0" dirty="0"/>
              <a:t>Third level – 16pt</a:t>
            </a:r>
          </a:p>
          <a:p>
            <a:pPr lvl="3"/>
            <a:r>
              <a:rPr lang="en-US" noProof="0" dirty="0"/>
              <a:t>Fourth level – 14pt</a:t>
            </a:r>
          </a:p>
          <a:p>
            <a:pPr lvl="4"/>
            <a:r>
              <a:rPr lang="en-US" noProof="0" dirty="0"/>
              <a:t>Fifth level – 14pt</a:t>
            </a:r>
          </a:p>
        </p:txBody>
      </p:sp>
      <p:sp>
        <p:nvSpPr>
          <p:cNvPr id="21" name="TextBox 20"/>
          <p:cNvSpPr txBox="1"/>
          <p:nvPr/>
        </p:nvSpPr>
        <p:spPr>
          <a:xfrm>
            <a:off x="3214688" y="6517547"/>
            <a:ext cx="2743200" cy="230832"/>
          </a:xfrm>
          <a:prstGeom prst="rect">
            <a:avLst/>
          </a:prstGeom>
          <a:noFill/>
        </p:spPr>
        <p:txBody>
          <a:bodyPr anchor="b">
            <a:spAutoFit/>
          </a:bodyPr>
          <a:lstStyle/>
          <a:p>
            <a:pPr algn="ctr">
              <a:defRPr/>
            </a:pPr>
            <a:r>
              <a:rPr lang="en-US" sz="900" kern="0" dirty="0">
                <a:solidFill>
                  <a:srgbClr val="38454F">
                    <a:lumMod val="60000"/>
                    <a:lumOff val="40000"/>
                  </a:srgbClr>
                </a:solidFill>
                <a:latin typeface="Oslo" pitchFamily="34" charset="0"/>
              </a:rPr>
              <a:t>COMPANY CONFIDENTIAL</a:t>
            </a:r>
          </a:p>
        </p:txBody>
      </p:sp>
      <p:sp>
        <p:nvSpPr>
          <p:cNvPr id="23" name="Date Placeholder 3"/>
          <p:cNvSpPr>
            <a:spLocks noGrp="1" noChangeAspect="1"/>
          </p:cNvSpPr>
          <p:nvPr>
            <p:ph type="dt" sz="half" idx="2"/>
          </p:nvPr>
        </p:nvSpPr>
        <p:spPr>
          <a:xfrm>
            <a:off x="7454344" y="6389441"/>
            <a:ext cx="910116" cy="365125"/>
          </a:xfrm>
          <a:prstGeom prst="rect">
            <a:avLst/>
          </a:prstGeom>
        </p:spPr>
        <p:txBody>
          <a:bodyPr vert="horz" lIns="91440" tIns="45720" rIns="91440" bIns="45720" rtlCol="0" anchor="b"/>
          <a:lstStyle>
            <a:lvl1pPr algn="r" fontAlgn="auto">
              <a:spcBef>
                <a:spcPts val="0"/>
              </a:spcBef>
              <a:spcAft>
                <a:spcPts val="0"/>
              </a:spcAft>
              <a:defRPr sz="1000" smtClean="0">
                <a:solidFill>
                  <a:schemeClr val="tx1"/>
                </a:solidFill>
                <a:latin typeface="Oslo" pitchFamily="34" charset="0"/>
              </a:defRPr>
            </a:lvl1pPr>
          </a:lstStyle>
          <a:p>
            <a:pPr>
              <a:defRPr/>
            </a:pPr>
            <a:endParaRPr lang="en-US" dirty="0">
              <a:solidFill>
                <a:srgbClr val="38454F"/>
              </a:solidFill>
            </a:endParaRPr>
          </a:p>
        </p:txBody>
      </p:sp>
      <p:sp>
        <p:nvSpPr>
          <p:cNvPr id="24" name="Slide Number Placeholder 5"/>
          <p:cNvSpPr>
            <a:spLocks noGrp="1" noChangeAspect="1"/>
          </p:cNvSpPr>
          <p:nvPr>
            <p:ph type="sldNum" sz="quarter" idx="4"/>
          </p:nvPr>
        </p:nvSpPr>
        <p:spPr>
          <a:xfrm>
            <a:off x="8379617" y="6389441"/>
            <a:ext cx="523875" cy="365125"/>
          </a:xfrm>
          <a:prstGeom prst="rect">
            <a:avLst/>
          </a:prstGeom>
        </p:spPr>
        <p:txBody>
          <a:bodyPr vert="horz" lIns="91440" tIns="45720" rIns="91440" bIns="45720" rtlCol="0" anchor="b"/>
          <a:lstStyle>
            <a:lvl1pPr algn="r" fontAlgn="auto">
              <a:spcBef>
                <a:spcPts val="0"/>
              </a:spcBef>
              <a:spcAft>
                <a:spcPts val="0"/>
              </a:spcAft>
              <a:defRPr sz="1000" smtClean="0">
                <a:solidFill>
                  <a:schemeClr val="tx1"/>
                </a:solidFill>
                <a:latin typeface="Oslo" pitchFamily="34" charset="0"/>
              </a:defRPr>
            </a:lvl1pPr>
          </a:lstStyle>
          <a:p>
            <a:pPr>
              <a:defRPr/>
            </a:pPr>
            <a:fld id="{91D03FF3-2B9E-4617-A592-48F56EC63E6E}" type="slidenum">
              <a:rPr lang="en-US">
                <a:solidFill>
                  <a:srgbClr val="38454F"/>
                </a:solidFill>
              </a:rPr>
              <a:pPr>
                <a:defRPr/>
              </a:pPr>
              <a:t>‹#›</a:t>
            </a:fld>
            <a:endParaRPr lang="en-US" dirty="0">
              <a:solidFill>
                <a:srgbClr val="38454F"/>
              </a:solidFill>
            </a:endParaRPr>
          </a:p>
        </p:txBody>
      </p:sp>
      <p:sp>
        <p:nvSpPr>
          <p:cNvPr id="18" name="Rectangle 17"/>
          <p:cNvSpPr/>
          <p:nvPr/>
        </p:nvSpPr>
        <p:spPr bwMode="auto">
          <a:xfrm>
            <a:off x="0" y="0"/>
            <a:ext cx="1188468" cy="171450"/>
          </a:xfrm>
          <a:custGeom>
            <a:avLst/>
            <a:gdLst>
              <a:gd name="connsiteX0" fmla="*/ 0 w 1188468"/>
              <a:gd name="connsiteY0" fmla="*/ 0 h 171450"/>
              <a:gd name="connsiteX1" fmla="*/ 336134 w 1188468"/>
              <a:gd name="connsiteY1" fmla="*/ 0 h 171450"/>
              <a:gd name="connsiteX2" fmla="*/ 1188468 w 1188468"/>
              <a:gd name="connsiteY2" fmla="*/ 0 h 171450"/>
              <a:gd name="connsiteX3" fmla="*/ 1168375 w 1188468"/>
              <a:gd name="connsiteY3" fmla="*/ 34787 h 171450"/>
              <a:gd name="connsiteX4" fmla="*/ 1089235 w 1188468"/>
              <a:gd name="connsiteY4" fmla="*/ 171450 h 171450"/>
              <a:gd name="connsiteX5" fmla="*/ 816864 w 1188468"/>
              <a:gd name="connsiteY5" fmla="*/ 171450 h 171450"/>
              <a:gd name="connsiteX6" fmla="*/ 237145 w 1188468"/>
              <a:gd name="connsiteY6" fmla="*/ 171450 h 171450"/>
              <a:gd name="connsiteX7" fmla="*/ 0 w 1188468"/>
              <a:gd name="connsiteY7" fmla="*/ 171450 h 171450"/>
              <a:gd name="connsiteX8" fmla="*/ 0 w 1188468"/>
              <a:gd name="connsiteY8" fmla="*/ 0 h 171450"/>
              <a:gd name="connsiteX0" fmla="*/ 0 w 1188468"/>
              <a:gd name="connsiteY0" fmla="*/ 0 h 171450"/>
              <a:gd name="connsiteX1" fmla="*/ 336134 w 1188468"/>
              <a:gd name="connsiteY1" fmla="*/ 0 h 171450"/>
              <a:gd name="connsiteX2" fmla="*/ 1188468 w 1188468"/>
              <a:gd name="connsiteY2" fmla="*/ 0 h 171450"/>
              <a:gd name="connsiteX3" fmla="*/ 1089235 w 1188468"/>
              <a:gd name="connsiteY3" fmla="*/ 171450 h 171450"/>
              <a:gd name="connsiteX4" fmla="*/ 816864 w 1188468"/>
              <a:gd name="connsiteY4" fmla="*/ 171450 h 171450"/>
              <a:gd name="connsiteX5" fmla="*/ 237145 w 1188468"/>
              <a:gd name="connsiteY5" fmla="*/ 171450 h 171450"/>
              <a:gd name="connsiteX6" fmla="*/ 0 w 1188468"/>
              <a:gd name="connsiteY6" fmla="*/ 171450 h 171450"/>
              <a:gd name="connsiteX7" fmla="*/ 0 w 1188468"/>
              <a:gd name="connsiteY7" fmla="*/ 0 h 171450"/>
              <a:gd name="connsiteX0" fmla="*/ 0 w 1188468"/>
              <a:gd name="connsiteY0" fmla="*/ 0 h 171450"/>
              <a:gd name="connsiteX1" fmla="*/ 336134 w 1188468"/>
              <a:gd name="connsiteY1" fmla="*/ 0 h 171450"/>
              <a:gd name="connsiteX2" fmla="*/ 1188468 w 1188468"/>
              <a:gd name="connsiteY2" fmla="*/ 0 h 171450"/>
              <a:gd name="connsiteX3" fmla="*/ 1089235 w 1188468"/>
              <a:gd name="connsiteY3" fmla="*/ 171450 h 171450"/>
              <a:gd name="connsiteX4" fmla="*/ 237145 w 1188468"/>
              <a:gd name="connsiteY4" fmla="*/ 171450 h 171450"/>
              <a:gd name="connsiteX5" fmla="*/ 0 w 1188468"/>
              <a:gd name="connsiteY5" fmla="*/ 171450 h 171450"/>
              <a:gd name="connsiteX6" fmla="*/ 0 w 1188468"/>
              <a:gd name="connsiteY6" fmla="*/ 0 h 171450"/>
              <a:gd name="connsiteX0" fmla="*/ 0 w 1188468"/>
              <a:gd name="connsiteY0" fmla="*/ 0 h 171450"/>
              <a:gd name="connsiteX1" fmla="*/ 1188468 w 1188468"/>
              <a:gd name="connsiteY1" fmla="*/ 0 h 171450"/>
              <a:gd name="connsiteX2" fmla="*/ 1089235 w 1188468"/>
              <a:gd name="connsiteY2" fmla="*/ 171450 h 171450"/>
              <a:gd name="connsiteX3" fmla="*/ 237145 w 1188468"/>
              <a:gd name="connsiteY3" fmla="*/ 171450 h 171450"/>
              <a:gd name="connsiteX4" fmla="*/ 0 w 1188468"/>
              <a:gd name="connsiteY4" fmla="*/ 171450 h 171450"/>
              <a:gd name="connsiteX5" fmla="*/ 0 w 1188468"/>
              <a:gd name="connsiteY5" fmla="*/ 0 h 171450"/>
              <a:gd name="connsiteX0" fmla="*/ 0 w 1188468"/>
              <a:gd name="connsiteY0" fmla="*/ 0 h 171450"/>
              <a:gd name="connsiteX1" fmla="*/ 1188468 w 1188468"/>
              <a:gd name="connsiteY1" fmla="*/ 0 h 171450"/>
              <a:gd name="connsiteX2" fmla="*/ 1089235 w 1188468"/>
              <a:gd name="connsiteY2" fmla="*/ 171450 h 171450"/>
              <a:gd name="connsiteX3" fmla="*/ 0 w 1188468"/>
              <a:gd name="connsiteY3" fmla="*/ 171450 h 171450"/>
              <a:gd name="connsiteX4" fmla="*/ 0 w 1188468"/>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468" h="171450">
                <a:moveTo>
                  <a:pt x="0" y="0"/>
                </a:moveTo>
                <a:lnTo>
                  <a:pt x="1188468" y="0"/>
                </a:lnTo>
                <a:lnTo>
                  <a:pt x="1089235" y="171450"/>
                </a:lnTo>
                <a:lnTo>
                  <a:pt x="0" y="171450"/>
                </a:lnTo>
                <a:lnTo>
                  <a:pt x="0" y="0"/>
                </a:lnTo>
                <a:close/>
              </a:path>
            </a:pathLst>
          </a:custGeom>
          <a:solidFill>
            <a:schemeClr val="bg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8" name="Rectangle 17"/>
          <p:cNvSpPr/>
          <p:nvPr/>
        </p:nvSpPr>
        <p:spPr bwMode="auto">
          <a:xfrm>
            <a:off x="8139112" y="0"/>
            <a:ext cx="1004886" cy="171450"/>
          </a:xfrm>
          <a:custGeom>
            <a:avLst/>
            <a:gdLst>
              <a:gd name="connsiteX0" fmla="*/ 99233 w 1004886"/>
              <a:gd name="connsiteY0" fmla="*/ 0 h 171450"/>
              <a:gd name="connsiteX1" fmla="*/ 456246 w 1004886"/>
              <a:gd name="connsiteY1" fmla="*/ 0 h 171450"/>
              <a:gd name="connsiteX2" fmla="*/ 496998 w 1004886"/>
              <a:gd name="connsiteY2" fmla="*/ 0 h 171450"/>
              <a:gd name="connsiteX3" fmla="*/ 828773 w 1004886"/>
              <a:gd name="connsiteY3" fmla="*/ 0 h 171450"/>
              <a:gd name="connsiteX4" fmla="*/ 1004886 w 1004886"/>
              <a:gd name="connsiteY4" fmla="*/ 0 h 171450"/>
              <a:gd name="connsiteX5" fmla="*/ 1004886 w 1004886"/>
              <a:gd name="connsiteY5" fmla="*/ 171450 h 171450"/>
              <a:gd name="connsiteX6" fmla="*/ 729540 w 1004886"/>
              <a:gd name="connsiteY6" fmla="*/ 171450 h 171450"/>
              <a:gd name="connsiteX7" fmla="*/ 555354 w 1004886"/>
              <a:gd name="connsiteY7" fmla="*/ 171450 h 171450"/>
              <a:gd name="connsiteX8" fmla="*/ 539405 w 1004886"/>
              <a:gd name="connsiteY8" fmla="*/ 171450 h 171450"/>
              <a:gd name="connsiteX9" fmla="*/ 464521 w 1004886"/>
              <a:gd name="connsiteY9" fmla="*/ 171450 h 171450"/>
              <a:gd name="connsiteX10" fmla="*/ 0 w 1004886"/>
              <a:gd name="connsiteY10" fmla="*/ 171450 h 171450"/>
              <a:gd name="connsiteX11" fmla="*/ 99233 w 1004886"/>
              <a:gd name="connsiteY11" fmla="*/ 0 h 171450"/>
              <a:gd name="connsiteX0" fmla="*/ 99233 w 1004886"/>
              <a:gd name="connsiteY0" fmla="*/ 0 h 171450"/>
              <a:gd name="connsiteX1" fmla="*/ 456246 w 1004886"/>
              <a:gd name="connsiteY1" fmla="*/ 0 h 171450"/>
              <a:gd name="connsiteX2" fmla="*/ 828773 w 1004886"/>
              <a:gd name="connsiteY2" fmla="*/ 0 h 171450"/>
              <a:gd name="connsiteX3" fmla="*/ 1004886 w 1004886"/>
              <a:gd name="connsiteY3" fmla="*/ 0 h 171450"/>
              <a:gd name="connsiteX4" fmla="*/ 1004886 w 1004886"/>
              <a:gd name="connsiteY4" fmla="*/ 171450 h 171450"/>
              <a:gd name="connsiteX5" fmla="*/ 729540 w 1004886"/>
              <a:gd name="connsiteY5" fmla="*/ 171450 h 171450"/>
              <a:gd name="connsiteX6" fmla="*/ 555354 w 1004886"/>
              <a:gd name="connsiteY6" fmla="*/ 171450 h 171450"/>
              <a:gd name="connsiteX7" fmla="*/ 539405 w 1004886"/>
              <a:gd name="connsiteY7" fmla="*/ 171450 h 171450"/>
              <a:gd name="connsiteX8" fmla="*/ 464521 w 1004886"/>
              <a:gd name="connsiteY8" fmla="*/ 171450 h 171450"/>
              <a:gd name="connsiteX9" fmla="*/ 0 w 1004886"/>
              <a:gd name="connsiteY9" fmla="*/ 171450 h 171450"/>
              <a:gd name="connsiteX10" fmla="*/ 99233 w 1004886"/>
              <a:gd name="connsiteY10" fmla="*/ 0 h 171450"/>
              <a:gd name="connsiteX0" fmla="*/ 99233 w 1004886"/>
              <a:gd name="connsiteY0" fmla="*/ 0 h 171450"/>
              <a:gd name="connsiteX1" fmla="*/ 828773 w 1004886"/>
              <a:gd name="connsiteY1" fmla="*/ 0 h 171450"/>
              <a:gd name="connsiteX2" fmla="*/ 1004886 w 1004886"/>
              <a:gd name="connsiteY2" fmla="*/ 0 h 171450"/>
              <a:gd name="connsiteX3" fmla="*/ 1004886 w 1004886"/>
              <a:gd name="connsiteY3" fmla="*/ 171450 h 171450"/>
              <a:gd name="connsiteX4" fmla="*/ 729540 w 1004886"/>
              <a:gd name="connsiteY4" fmla="*/ 171450 h 171450"/>
              <a:gd name="connsiteX5" fmla="*/ 555354 w 1004886"/>
              <a:gd name="connsiteY5" fmla="*/ 171450 h 171450"/>
              <a:gd name="connsiteX6" fmla="*/ 539405 w 1004886"/>
              <a:gd name="connsiteY6" fmla="*/ 171450 h 171450"/>
              <a:gd name="connsiteX7" fmla="*/ 464521 w 1004886"/>
              <a:gd name="connsiteY7" fmla="*/ 171450 h 171450"/>
              <a:gd name="connsiteX8" fmla="*/ 0 w 1004886"/>
              <a:gd name="connsiteY8" fmla="*/ 171450 h 171450"/>
              <a:gd name="connsiteX9" fmla="*/ 99233 w 1004886"/>
              <a:gd name="connsiteY9" fmla="*/ 0 h 171450"/>
              <a:gd name="connsiteX0" fmla="*/ 99233 w 1004886"/>
              <a:gd name="connsiteY0" fmla="*/ 0 h 171450"/>
              <a:gd name="connsiteX1" fmla="*/ 1004886 w 1004886"/>
              <a:gd name="connsiteY1" fmla="*/ 0 h 171450"/>
              <a:gd name="connsiteX2" fmla="*/ 1004886 w 1004886"/>
              <a:gd name="connsiteY2" fmla="*/ 171450 h 171450"/>
              <a:gd name="connsiteX3" fmla="*/ 729540 w 1004886"/>
              <a:gd name="connsiteY3" fmla="*/ 171450 h 171450"/>
              <a:gd name="connsiteX4" fmla="*/ 555354 w 1004886"/>
              <a:gd name="connsiteY4" fmla="*/ 171450 h 171450"/>
              <a:gd name="connsiteX5" fmla="*/ 539405 w 1004886"/>
              <a:gd name="connsiteY5" fmla="*/ 171450 h 171450"/>
              <a:gd name="connsiteX6" fmla="*/ 464521 w 1004886"/>
              <a:gd name="connsiteY6" fmla="*/ 171450 h 171450"/>
              <a:gd name="connsiteX7" fmla="*/ 0 w 1004886"/>
              <a:gd name="connsiteY7" fmla="*/ 171450 h 171450"/>
              <a:gd name="connsiteX8" fmla="*/ 99233 w 1004886"/>
              <a:gd name="connsiteY8" fmla="*/ 0 h 171450"/>
              <a:gd name="connsiteX0" fmla="*/ 99233 w 1004886"/>
              <a:gd name="connsiteY0" fmla="*/ 0 h 171450"/>
              <a:gd name="connsiteX1" fmla="*/ 1004886 w 1004886"/>
              <a:gd name="connsiteY1" fmla="*/ 0 h 171450"/>
              <a:gd name="connsiteX2" fmla="*/ 1004886 w 1004886"/>
              <a:gd name="connsiteY2" fmla="*/ 171450 h 171450"/>
              <a:gd name="connsiteX3" fmla="*/ 555354 w 1004886"/>
              <a:gd name="connsiteY3" fmla="*/ 171450 h 171450"/>
              <a:gd name="connsiteX4" fmla="*/ 539405 w 1004886"/>
              <a:gd name="connsiteY4" fmla="*/ 171450 h 171450"/>
              <a:gd name="connsiteX5" fmla="*/ 464521 w 1004886"/>
              <a:gd name="connsiteY5" fmla="*/ 171450 h 171450"/>
              <a:gd name="connsiteX6" fmla="*/ 0 w 1004886"/>
              <a:gd name="connsiteY6" fmla="*/ 171450 h 171450"/>
              <a:gd name="connsiteX7" fmla="*/ 99233 w 1004886"/>
              <a:gd name="connsiteY7" fmla="*/ 0 h 171450"/>
              <a:gd name="connsiteX0" fmla="*/ 99233 w 1004886"/>
              <a:gd name="connsiteY0" fmla="*/ 0 h 171450"/>
              <a:gd name="connsiteX1" fmla="*/ 1004886 w 1004886"/>
              <a:gd name="connsiteY1" fmla="*/ 0 h 171450"/>
              <a:gd name="connsiteX2" fmla="*/ 1004886 w 1004886"/>
              <a:gd name="connsiteY2" fmla="*/ 171450 h 171450"/>
              <a:gd name="connsiteX3" fmla="*/ 539405 w 1004886"/>
              <a:gd name="connsiteY3" fmla="*/ 171450 h 171450"/>
              <a:gd name="connsiteX4" fmla="*/ 464521 w 1004886"/>
              <a:gd name="connsiteY4" fmla="*/ 171450 h 171450"/>
              <a:gd name="connsiteX5" fmla="*/ 0 w 1004886"/>
              <a:gd name="connsiteY5" fmla="*/ 171450 h 171450"/>
              <a:gd name="connsiteX6" fmla="*/ 99233 w 1004886"/>
              <a:gd name="connsiteY6" fmla="*/ 0 h 171450"/>
              <a:gd name="connsiteX0" fmla="*/ 99233 w 1004886"/>
              <a:gd name="connsiteY0" fmla="*/ 0 h 171450"/>
              <a:gd name="connsiteX1" fmla="*/ 1004886 w 1004886"/>
              <a:gd name="connsiteY1" fmla="*/ 0 h 171450"/>
              <a:gd name="connsiteX2" fmla="*/ 1004886 w 1004886"/>
              <a:gd name="connsiteY2" fmla="*/ 171450 h 171450"/>
              <a:gd name="connsiteX3" fmla="*/ 464521 w 1004886"/>
              <a:gd name="connsiteY3" fmla="*/ 171450 h 171450"/>
              <a:gd name="connsiteX4" fmla="*/ 0 w 1004886"/>
              <a:gd name="connsiteY4" fmla="*/ 171450 h 171450"/>
              <a:gd name="connsiteX5" fmla="*/ 99233 w 1004886"/>
              <a:gd name="connsiteY5" fmla="*/ 0 h 171450"/>
              <a:gd name="connsiteX0" fmla="*/ 99233 w 1004886"/>
              <a:gd name="connsiteY0" fmla="*/ 0 h 171450"/>
              <a:gd name="connsiteX1" fmla="*/ 1004886 w 1004886"/>
              <a:gd name="connsiteY1" fmla="*/ 0 h 171450"/>
              <a:gd name="connsiteX2" fmla="*/ 1004886 w 1004886"/>
              <a:gd name="connsiteY2" fmla="*/ 171450 h 171450"/>
              <a:gd name="connsiteX3" fmla="*/ 0 w 1004886"/>
              <a:gd name="connsiteY3" fmla="*/ 171450 h 171450"/>
              <a:gd name="connsiteX4" fmla="*/ 99233 w 1004886"/>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86" h="171450">
                <a:moveTo>
                  <a:pt x="99233" y="0"/>
                </a:moveTo>
                <a:lnTo>
                  <a:pt x="1004886" y="0"/>
                </a:lnTo>
                <a:lnTo>
                  <a:pt x="1004886" y="171450"/>
                </a:lnTo>
                <a:lnTo>
                  <a:pt x="0" y="171450"/>
                </a:lnTo>
                <a:lnTo>
                  <a:pt x="99233" y="0"/>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pSp>
        <p:nvGrpSpPr>
          <p:cNvPr id="33" name="Group 32"/>
          <p:cNvGrpSpPr>
            <a:grpSpLocks noChangeAspect="1"/>
          </p:cNvGrpSpPr>
          <p:nvPr/>
        </p:nvGrpSpPr>
        <p:grpSpPr>
          <a:xfrm>
            <a:off x="374651" y="6431112"/>
            <a:ext cx="1673352" cy="328463"/>
            <a:chOff x="374651" y="6029325"/>
            <a:chExt cx="2054224" cy="403225"/>
          </a:xfrm>
        </p:grpSpPr>
        <p:sp>
          <p:nvSpPr>
            <p:cNvPr id="34"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5"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6" name="Freeform 35"/>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7" name="Freeform 36"/>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8" name="Freeform 37"/>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9" name="Freeform 38"/>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0" name="Freeform 39"/>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1" name="Freeform 40"/>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2"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3"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4"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5"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6"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7"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8"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9"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0"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4280522118"/>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ct val="80000"/>
        </a:lnSpc>
        <a:spcBef>
          <a:spcPct val="0"/>
        </a:spcBef>
        <a:spcAft>
          <a:spcPct val="0"/>
        </a:spcAft>
        <a:defRPr sz="2800" b="0" kern="1200">
          <a:solidFill>
            <a:schemeClr val="tx1"/>
          </a:solidFill>
          <a:latin typeface="+mj-lt"/>
          <a:ea typeface="+mj-ea"/>
          <a:cs typeface="+mj-cs"/>
        </a:defRPr>
      </a:lvl1pPr>
      <a:lvl2pPr algn="l" rtl="0" eaLnBrk="1" fontAlgn="base" hangingPunct="1">
        <a:lnSpc>
          <a:spcPct val="80000"/>
        </a:lnSpc>
        <a:spcBef>
          <a:spcPct val="0"/>
        </a:spcBef>
        <a:spcAft>
          <a:spcPct val="0"/>
        </a:spcAft>
        <a:defRPr sz="3600" b="1">
          <a:solidFill>
            <a:schemeClr val="tx2"/>
          </a:solidFill>
          <a:latin typeface="Oslo" pitchFamily="34" charset="0"/>
        </a:defRPr>
      </a:lvl2pPr>
      <a:lvl3pPr algn="l" rtl="0" eaLnBrk="1" fontAlgn="base" hangingPunct="1">
        <a:lnSpc>
          <a:spcPct val="80000"/>
        </a:lnSpc>
        <a:spcBef>
          <a:spcPct val="0"/>
        </a:spcBef>
        <a:spcAft>
          <a:spcPct val="0"/>
        </a:spcAft>
        <a:defRPr sz="3600" b="1">
          <a:solidFill>
            <a:schemeClr val="tx2"/>
          </a:solidFill>
          <a:latin typeface="Oslo" pitchFamily="34" charset="0"/>
        </a:defRPr>
      </a:lvl3pPr>
      <a:lvl4pPr algn="l" rtl="0" eaLnBrk="1" fontAlgn="base" hangingPunct="1">
        <a:lnSpc>
          <a:spcPct val="80000"/>
        </a:lnSpc>
        <a:spcBef>
          <a:spcPct val="0"/>
        </a:spcBef>
        <a:spcAft>
          <a:spcPct val="0"/>
        </a:spcAft>
        <a:defRPr sz="3600" b="1">
          <a:solidFill>
            <a:schemeClr val="tx2"/>
          </a:solidFill>
          <a:latin typeface="Oslo" pitchFamily="34" charset="0"/>
        </a:defRPr>
      </a:lvl4pPr>
      <a:lvl5pPr algn="l" rtl="0" eaLnBrk="1" fontAlgn="base" hangingPunct="1">
        <a:lnSpc>
          <a:spcPct val="80000"/>
        </a:lnSpc>
        <a:spcBef>
          <a:spcPct val="0"/>
        </a:spcBef>
        <a:spcAft>
          <a:spcPct val="0"/>
        </a:spcAft>
        <a:defRPr sz="3600" b="1">
          <a:solidFill>
            <a:schemeClr val="tx2"/>
          </a:solidFill>
          <a:latin typeface="Oslo" pitchFamily="34" charset="0"/>
        </a:defRPr>
      </a:lvl5pPr>
      <a:lvl6pPr marL="457200" algn="l" rtl="0" eaLnBrk="1" fontAlgn="base" hangingPunct="1">
        <a:lnSpc>
          <a:spcPct val="80000"/>
        </a:lnSpc>
        <a:spcBef>
          <a:spcPct val="0"/>
        </a:spcBef>
        <a:spcAft>
          <a:spcPct val="0"/>
        </a:spcAft>
        <a:defRPr sz="3600" b="1">
          <a:solidFill>
            <a:schemeClr val="tx2"/>
          </a:solidFill>
          <a:latin typeface="Oslo" pitchFamily="34" charset="0"/>
        </a:defRPr>
      </a:lvl6pPr>
      <a:lvl7pPr marL="914400" algn="l" rtl="0" eaLnBrk="1" fontAlgn="base" hangingPunct="1">
        <a:lnSpc>
          <a:spcPct val="80000"/>
        </a:lnSpc>
        <a:spcBef>
          <a:spcPct val="0"/>
        </a:spcBef>
        <a:spcAft>
          <a:spcPct val="0"/>
        </a:spcAft>
        <a:defRPr sz="3600" b="1">
          <a:solidFill>
            <a:schemeClr val="tx2"/>
          </a:solidFill>
          <a:latin typeface="Oslo" pitchFamily="34" charset="0"/>
        </a:defRPr>
      </a:lvl7pPr>
      <a:lvl8pPr marL="1371600" algn="l" rtl="0" eaLnBrk="1" fontAlgn="base" hangingPunct="1">
        <a:lnSpc>
          <a:spcPct val="80000"/>
        </a:lnSpc>
        <a:spcBef>
          <a:spcPct val="0"/>
        </a:spcBef>
        <a:spcAft>
          <a:spcPct val="0"/>
        </a:spcAft>
        <a:defRPr sz="3600" b="1">
          <a:solidFill>
            <a:schemeClr val="tx2"/>
          </a:solidFill>
          <a:latin typeface="Oslo" pitchFamily="34" charset="0"/>
        </a:defRPr>
      </a:lvl8pPr>
      <a:lvl9pPr marL="1828800" algn="l" rtl="0" eaLnBrk="1" fontAlgn="base" hangingPunct="1">
        <a:lnSpc>
          <a:spcPct val="80000"/>
        </a:lnSpc>
        <a:spcBef>
          <a:spcPct val="0"/>
        </a:spcBef>
        <a:spcAft>
          <a:spcPct val="0"/>
        </a:spcAft>
        <a:defRPr sz="3600" b="1">
          <a:solidFill>
            <a:schemeClr val="tx2"/>
          </a:solidFill>
          <a:latin typeface="Oslo" pitchFamily="34" charset="0"/>
        </a:defRPr>
      </a:lvl9pPr>
    </p:titleStyle>
    <p:bodyStyle>
      <a:lvl1pPr marL="171450" indent="-171450" algn="l" rtl="0" eaLnBrk="1" fontAlgn="base" hangingPunct="1">
        <a:spcBef>
          <a:spcPts val="1200"/>
        </a:spcBef>
        <a:spcAft>
          <a:spcPct val="0"/>
        </a:spcAft>
        <a:buClr>
          <a:schemeClr val="accent1"/>
        </a:buClr>
        <a:buSzPct val="100000"/>
        <a:buFont typeface="Arial" panose="020B0604020202020204" pitchFamily="34" charset="0"/>
        <a:buChar char="•"/>
        <a:defRPr sz="1800" b="0" kern="1200">
          <a:solidFill>
            <a:schemeClr val="accent1"/>
          </a:solidFill>
          <a:latin typeface="+mn-lt"/>
          <a:ea typeface="+mn-ea"/>
          <a:cs typeface="+mn-cs"/>
        </a:defRPr>
      </a:lvl1pPr>
      <a:lvl2pPr marL="461963" indent="-234950" algn="l" rtl="0" eaLnBrk="1" fontAlgn="base" hangingPunct="1">
        <a:spcBef>
          <a:spcPts val="0"/>
        </a:spcBef>
        <a:spcAft>
          <a:spcPts val="400"/>
        </a:spcAft>
        <a:buClr>
          <a:schemeClr val="accent1"/>
        </a:buClr>
        <a:buSzPct val="100000"/>
        <a:buFont typeface="Arial" panose="020B0604020202020204" pitchFamily="34" charset="0"/>
        <a:buChar char="–"/>
        <a:defRPr sz="1600" kern="1200">
          <a:solidFill>
            <a:schemeClr val="tx1"/>
          </a:solidFill>
          <a:latin typeface="+mn-lt"/>
          <a:ea typeface="+mn-ea"/>
          <a:cs typeface="+mn-cs"/>
        </a:defRPr>
      </a:lvl2pPr>
      <a:lvl3pPr marL="687388" indent="-225425" algn="l" rtl="0" eaLnBrk="1" fontAlgn="base" hangingPunct="1">
        <a:spcBef>
          <a:spcPts val="0"/>
        </a:spcBef>
        <a:spcAft>
          <a:spcPts val="200"/>
        </a:spcAft>
        <a:buClr>
          <a:schemeClr val="accent1"/>
        </a:buClr>
        <a:buSzPct val="100000"/>
        <a:buFont typeface="Arial" panose="020B0604020202020204" pitchFamily="34" charset="0"/>
        <a:buChar char="»"/>
        <a:defRPr sz="1600" kern="1200">
          <a:solidFill>
            <a:schemeClr val="tx1"/>
          </a:solidFill>
          <a:latin typeface="+mn-lt"/>
          <a:ea typeface="+mn-ea"/>
          <a:cs typeface="+mn-cs"/>
        </a:defRPr>
      </a:lvl3pPr>
      <a:lvl4pPr marL="914400" indent="-227013" algn="l" rtl="0" eaLnBrk="1" fontAlgn="base" hangingPunct="1">
        <a:spcBef>
          <a:spcPts val="0"/>
        </a:spcBef>
        <a:spcAft>
          <a:spcPts val="300"/>
        </a:spcAft>
        <a:buClr>
          <a:schemeClr val="accent1"/>
        </a:buClr>
        <a:buSzPct val="100000"/>
        <a:buFont typeface="Arial" panose="020B0604020202020204" pitchFamily="34" charset="0"/>
        <a:buChar char="•"/>
        <a:defRPr sz="1400" kern="1200">
          <a:solidFill>
            <a:schemeClr val="tx1"/>
          </a:solidFill>
          <a:latin typeface="+mn-lt"/>
          <a:ea typeface="+mn-ea"/>
          <a:cs typeface="+mn-cs"/>
        </a:defRPr>
      </a:lvl4pPr>
      <a:lvl5pPr marL="1141413" indent="-227013" algn="l" rtl="0" eaLnBrk="1" fontAlgn="base" hangingPunct="1">
        <a:spcBef>
          <a:spcPts val="0"/>
        </a:spcBef>
        <a:spcAft>
          <a:spcPts val="300"/>
        </a:spcAft>
        <a:buClr>
          <a:schemeClr val="accent1"/>
        </a:buClr>
        <a:buSzPct val="100000"/>
        <a:buFont typeface="Arial" panose="020B0604020202020204" pitchFamily="34" charset="0"/>
        <a:buChar char="–"/>
        <a:defRPr sz="1400" kern="1200">
          <a:solidFill>
            <a:schemeClr val="tx1"/>
          </a:solidFill>
          <a:latin typeface="+mn-lt"/>
          <a:ea typeface="+mn-ea"/>
          <a:cs typeface="+mn-cs"/>
        </a:defRPr>
      </a:lvl5pPr>
      <a:lvl6pPr marL="1168400" indent="-177800" algn="l" defTabSz="914400" rtl="0" eaLnBrk="1" latinLnBrk="0" hangingPunct="1">
        <a:spcBef>
          <a:spcPct val="20000"/>
        </a:spcBef>
        <a:buClr>
          <a:schemeClr val="accent2"/>
        </a:buClr>
        <a:buSzPct val="100000"/>
        <a:buFont typeface="Oslo" pitchFamily="34" charset="0"/>
        <a:buChar char="–"/>
        <a:defRPr sz="1400" kern="1200" baseline="0">
          <a:solidFill>
            <a:schemeClr val="tx1"/>
          </a:solidFill>
          <a:latin typeface="+mn-lt"/>
          <a:ea typeface="+mn-ea"/>
          <a:cs typeface="+mn-cs"/>
        </a:defRPr>
      </a:lvl6pPr>
      <a:lvl7pPr marL="1312863" indent="-144463" algn="l" defTabSz="914400" rtl="0" eaLnBrk="1" latinLnBrk="0" hangingPunct="1">
        <a:spcBef>
          <a:spcPct val="20000"/>
        </a:spcBef>
        <a:buClr>
          <a:schemeClr val="accent2"/>
        </a:buClr>
        <a:buSzPct val="100000"/>
        <a:buFont typeface="Arial" pitchFamily="34" charset="0"/>
        <a:buChar char="•"/>
        <a:defRPr sz="1400" kern="1200" baseline="0">
          <a:solidFill>
            <a:schemeClr val="tx1"/>
          </a:solidFill>
          <a:latin typeface="+mn-lt"/>
          <a:ea typeface="+mn-ea"/>
          <a:cs typeface="+mn-cs"/>
        </a:defRPr>
      </a:lvl7pPr>
      <a:lvl8pPr marL="1481138" indent="-160338" algn="l" defTabSz="914400" rtl="0" eaLnBrk="1" latinLnBrk="0" hangingPunct="1">
        <a:spcBef>
          <a:spcPct val="20000"/>
        </a:spcBef>
        <a:buClr>
          <a:schemeClr val="accent2"/>
        </a:buClr>
        <a:buSzPct val="100000"/>
        <a:buFont typeface="Oslo" pitchFamily="34" charset="0"/>
        <a:buChar char="–"/>
        <a:defRPr sz="1400" kern="1200" baseline="0">
          <a:solidFill>
            <a:schemeClr val="tx1"/>
          </a:solidFill>
          <a:latin typeface="+mn-lt"/>
          <a:ea typeface="+mn-ea"/>
          <a:cs typeface="+mn-cs"/>
        </a:defRPr>
      </a:lvl8pPr>
      <a:lvl9pPr marL="1490663" indent="0" algn="l" defTabSz="914400" rtl="0" eaLnBrk="1" latinLnBrk="0" hangingPunct="1">
        <a:spcBef>
          <a:spcPct val="20000"/>
        </a:spcBef>
        <a:buClr>
          <a:schemeClr val="accent2"/>
        </a:buClr>
        <a:buSzPct val="100000"/>
        <a:buFont typeface="Arial" pitchFamily="34" charset="0"/>
        <a:buNone/>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17"/>
          <p:cNvSpPr/>
          <p:nvPr/>
        </p:nvSpPr>
        <p:spPr bwMode="auto">
          <a:xfrm>
            <a:off x="6409826" y="0"/>
            <a:ext cx="828773" cy="171450"/>
          </a:xfrm>
          <a:custGeom>
            <a:avLst/>
            <a:gdLst/>
            <a:ahLst/>
            <a:cxnLst/>
            <a:rect l="l" t="t" r="r" b="b"/>
            <a:pathLst>
              <a:path w="828773" h="171450">
                <a:moveTo>
                  <a:pt x="99233" y="0"/>
                </a:moveTo>
                <a:lnTo>
                  <a:pt x="828773" y="0"/>
                </a:lnTo>
                <a:lnTo>
                  <a:pt x="729540" y="171450"/>
                </a:lnTo>
                <a:lnTo>
                  <a:pt x="0" y="171450"/>
                </a:lnTo>
                <a:close/>
              </a:path>
            </a:pathLst>
          </a:custGeom>
          <a:solidFill>
            <a:schemeClr val="accent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7" name="Rectangle 17"/>
          <p:cNvSpPr/>
          <p:nvPr/>
        </p:nvSpPr>
        <p:spPr bwMode="auto">
          <a:xfrm>
            <a:off x="0" y="0"/>
            <a:ext cx="6579109" cy="171450"/>
          </a:xfrm>
          <a:custGeom>
            <a:avLst/>
            <a:gdLst/>
            <a:ahLst/>
            <a:cxnLst/>
            <a:rect l="l" t="t" r="r" b="b"/>
            <a:pathLst>
              <a:path w="6579109" h="171450">
                <a:moveTo>
                  <a:pt x="0" y="0"/>
                </a:moveTo>
                <a:lnTo>
                  <a:pt x="5390641" y="0"/>
                </a:lnTo>
                <a:lnTo>
                  <a:pt x="6090420" y="0"/>
                </a:lnTo>
                <a:lnTo>
                  <a:pt x="6579109" y="0"/>
                </a:lnTo>
                <a:lnTo>
                  <a:pt x="6479876" y="171450"/>
                </a:lnTo>
                <a:lnTo>
                  <a:pt x="5581891" y="171450"/>
                </a:lnTo>
                <a:lnTo>
                  <a:pt x="5390641" y="171450"/>
                </a:lnTo>
                <a:lnTo>
                  <a:pt x="0" y="171450"/>
                </a:lnTo>
                <a:close/>
              </a:path>
            </a:pathLst>
          </a:custGeom>
          <a:solidFill>
            <a:schemeClr val="accent1"/>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32" name="Rectangle 17"/>
          <p:cNvSpPr/>
          <p:nvPr/>
        </p:nvSpPr>
        <p:spPr bwMode="auto">
          <a:xfrm>
            <a:off x="7092280" y="0"/>
            <a:ext cx="2051718" cy="171450"/>
          </a:xfrm>
          <a:custGeom>
            <a:avLst/>
            <a:gdLst/>
            <a:ahLst/>
            <a:cxnLst/>
            <a:rect l="l" t="t" r="r" b="b"/>
            <a:pathLst>
              <a:path w="2051718" h="171450">
                <a:moveTo>
                  <a:pt x="99233" y="0"/>
                </a:moveTo>
                <a:lnTo>
                  <a:pt x="675297" y="0"/>
                </a:lnTo>
                <a:lnTo>
                  <a:pt x="828773" y="0"/>
                </a:lnTo>
                <a:lnTo>
                  <a:pt x="1146065" y="0"/>
                </a:lnTo>
                <a:lnTo>
                  <a:pt x="1404837" y="0"/>
                </a:lnTo>
                <a:lnTo>
                  <a:pt x="2051718" y="0"/>
                </a:lnTo>
                <a:lnTo>
                  <a:pt x="2051718" y="171450"/>
                </a:lnTo>
                <a:lnTo>
                  <a:pt x="1305604" y="171450"/>
                </a:lnTo>
                <a:lnTo>
                  <a:pt x="1046832" y="171450"/>
                </a:lnTo>
                <a:lnTo>
                  <a:pt x="576064" y="171450"/>
                </a:lnTo>
                <a:lnTo>
                  <a:pt x="576064" y="171450"/>
                </a:lnTo>
                <a:lnTo>
                  <a:pt x="0" y="171450"/>
                </a:lnTo>
                <a:close/>
              </a:path>
            </a:pathLst>
          </a:custGeom>
          <a:solidFill>
            <a:schemeClr val="accent3"/>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aphicFrame>
        <p:nvGraphicFramePr>
          <p:cNvPr id="2" name="Object 1" hidden="1"/>
          <p:cNvGraphicFramePr>
            <a:graphicFrameLocks noChangeAspect="1"/>
          </p:cNvGraphicFramePr>
          <p:nvPr>
            <p:custDataLst>
              <p:tags r:id="rId28"/>
            </p:custDataLst>
            <p:extLst>
              <p:ext uri="{D42A27DB-BD31-4B8C-83A1-F6EECF244321}">
                <p14:modId xmlns:p14="http://schemas.microsoft.com/office/powerpoint/2010/main" val="1182367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3"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1030" name="Title Placeholder 1"/>
          <p:cNvSpPr>
            <a:spLocks noGrp="1"/>
          </p:cNvSpPr>
          <p:nvPr>
            <p:ph type="title"/>
          </p:nvPr>
        </p:nvSpPr>
        <p:spPr bwMode="auto">
          <a:xfrm>
            <a:off x="363538" y="279495"/>
            <a:ext cx="8432800" cy="689420"/>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noProof="0" dirty="0"/>
              <a:t>Headline – Arial 36pt Bold</a:t>
            </a:r>
            <a:br>
              <a:rPr lang="en-US" noProof="0" dirty="0"/>
            </a:br>
            <a:r>
              <a:rPr lang="en-US" noProof="0" dirty="0"/>
              <a:t>Space for 2 lines</a:t>
            </a:r>
          </a:p>
        </p:txBody>
      </p:sp>
      <p:sp>
        <p:nvSpPr>
          <p:cNvPr id="3" name="Text Placeholder 2"/>
          <p:cNvSpPr>
            <a:spLocks noGrp="1"/>
          </p:cNvSpPr>
          <p:nvPr>
            <p:ph type="body" idx="1"/>
          </p:nvPr>
        </p:nvSpPr>
        <p:spPr>
          <a:xfrm>
            <a:off x="363538" y="1073150"/>
            <a:ext cx="8432800" cy="5285741"/>
          </a:xfrm>
          <a:prstGeom prst="rect">
            <a:avLst/>
          </a:prstGeom>
        </p:spPr>
        <p:txBody>
          <a:bodyPr vert="horz" lIns="0" tIns="0" rIns="0" bIns="0" rtlCol="0">
            <a:noAutofit/>
          </a:bodyPr>
          <a:lstStyle/>
          <a:p>
            <a:pPr lvl="0"/>
            <a:r>
              <a:rPr lang="en-US" noProof="0" dirty="0"/>
              <a:t>First level – 18pt</a:t>
            </a:r>
          </a:p>
          <a:p>
            <a:pPr lvl="1"/>
            <a:r>
              <a:rPr lang="en-US" noProof="0" dirty="0"/>
              <a:t>Second level – 16pt</a:t>
            </a:r>
          </a:p>
          <a:p>
            <a:pPr lvl="2"/>
            <a:r>
              <a:rPr lang="en-US" noProof="0" dirty="0"/>
              <a:t>Third level – 16pt</a:t>
            </a:r>
          </a:p>
          <a:p>
            <a:pPr lvl="3"/>
            <a:r>
              <a:rPr lang="en-US" noProof="0" dirty="0"/>
              <a:t>Fourth level – 14pt</a:t>
            </a:r>
          </a:p>
          <a:p>
            <a:pPr lvl="4"/>
            <a:r>
              <a:rPr lang="en-US" noProof="0" dirty="0"/>
              <a:t>Fifth level – 14pt</a:t>
            </a:r>
          </a:p>
        </p:txBody>
      </p:sp>
      <p:sp>
        <p:nvSpPr>
          <p:cNvPr id="21" name="TextBox 20"/>
          <p:cNvSpPr txBox="1"/>
          <p:nvPr/>
        </p:nvSpPr>
        <p:spPr>
          <a:xfrm>
            <a:off x="3214688" y="6517547"/>
            <a:ext cx="2743200" cy="230832"/>
          </a:xfrm>
          <a:prstGeom prst="rect">
            <a:avLst/>
          </a:prstGeom>
          <a:noFill/>
        </p:spPr>
        <p:txBody>
          <a:bodyPr anchor="b">
            <a:spAutoFit/>
          </a:bodyPr>
          <a:lstStyle/>
          <a:p>
            <a:pPr algn="ctr">
              <a:defRPr/>
            </a:pPr>
            <a:r>
              <a:rPr lang="en-US" sz="900" kern="0" dirty="0">
                <a:solidFill>
                  <a:srgbClr val="38454F">
                    <a:lumMod val="60000"/>
                    <a:lumOff val="40000"/>
                  </a:srgbClr>
                </a:solidFill>
                <a:latin typeface="Oslo" pitchFamily="34" charset="0"/>
              </a:rPr>
              <a:t>COMPANY CONFIDENTIAL</a:t>
            </a:r>
          </a:p>
        </p:txBody>
      </p:sp>
      <p:sp>
        <p:nvSpPr>
          <p:cNvPr id="23" name="Date Placeholder 3"/>
          <p:cNvSpPr>
            <a:spLocks noGrp="1" noChangeAspect="1"/>
          </p:cNvSpPr>
          <p:nvPr>
            <p:ph type="dt" sz="half" idx="2"/>
          </p:nvPr>
        </p:nvSpPr>
        <p:spPr>
          <a:xfrm>
            <a:off x="7454344" y="6389441"/>
            <a:ext cx="910116" cy="365125"/>
          </a:xfrm>
          <a:prstGeom prst="rect">
            <a:avLst/>
          </a:prstGeom>
        </p:spPr>
        <p:txBody>
          <a:bodyPr vert="horz" lIns="91440" tIns="45720" rIns="91440" bIns="45720" rtlCol="0" anchor="b"/>
          <a:lstStyle>
            <a:lvl1pPr algn="r" fontAlgn="auto">
              <a:spcBef>
                <a:spcPts val="0"/>
              </a:spcBef>
              <a:spcAft>
                <a:spcPts val="0"/>
              </a:spcAft>
              <a:defRPr sz="1000" smtClean="0">
                <a:solidFill>
                  <a:schemeClr val="tx1"/>
                </a:solidFill>
                <a:latin typeface="Oslo" pitchFamily="34" charset="0"/>
              </a:defRPr>
            </a:lvl1pPr>
          </a:lstStyle>
          <a:p>
            <a:pPr>
              <a:defRPr/>
            </a:pPr>
            <a:endParaRPr lang="en-US" dirty="0">
              <a:solidFill>
                <a:srgbClr val="38454F"/>
              </a:solidFill>
            </a:endParaRPr>
          </a:p>
        </p:txBody>
      </p:sp>
      <p:sp>
        <p:nvSpPr>
          <p:cNvPr id="24" name="Slide Number Placeholder 5"/>
          <p:cNvSpPr>
            <a:spLocks noGrp="1" noChangeAspect="1"/>
          </p:cNvSpPr>
          <p:nvPr>
            <p:ph type="sldNum" sz="quarter" idx="4"/>
          </p:nvPr>
        </p:nvSpPr>
        <p:spPr>
          <a:xfrm>
            <a:off x="8379617" y="6389441"/>
            <a:ext cx="523875" cy="365125"/>
          </a:xfrm>
          <a:prstGeom prst="rect">
            <a:avLst/>
          </a:prstGeom>
        </p:spPr>
        <p:txBody>
          <a:bodyPr vert="horz" lIns="91440" tIns="45720" rIns="91440" bIns="45720" rtlCol="0" anchor="b"/>
          <a:lstStyle>
            <a:lvl1pPr algn="r" fontAlgn="auto">
              <a:spcBef>
                <a:spcPts val="0"/>
              </a:spcBef>
              <a:spcAft>
                <a:spcPts val="0"/>
              </a:spcAft>
              <a:defRPr sz="1000" smtClean="0">
                <a:solidFill>
                  <a:schemeClr val="tx1"/>
                </a:solidFill>
                <a:latin typeface="Oslo" pitchFamily="34" charset="0"/>
              </a:defRPr>
            </a:lvl1pPr>
          </a:lstStyle>
          <a:p>
            <a:pPr>
              <a:defRPr/>
            </a:pPr>
            <a:fld id="{91D03FF3-2B9E-4617-A592-48F56EC63E6E}" type="slidenum">
              <a:rPr lang="en-US">
                <a:solidFill>
                  <a:srgbClr val="38454F"/>
                </a:solidFill>
              </a:rPr>
              <a:pPr>
                <a:defRPr/>
              </a:pPr>
              <a:t>‹#›</a:t>
            </a:fld>
            <a:endParaRPr lang="en-US" dirty="0">
              <a:solidFill>
                <a:srgbClr val="38454F"/>
              </a:solidFill>
            </a:endParaRPr>
          </a:p>
        </p:txBody>
      </p:sp>
      <p:sp>
        <p:nvSpPr>
          <p:cNvPr id="18" name="Rectangle 17"/>
          <p:cNvSpPr/>
          <p:nvPr/>
        </p:nvSpPr>
        <p:spPr bwMode="auto">
          <a:xfrm>
            <a:off x="0" y="0"/>
            <a:ext cx="1188468" cy="171450"/>
          </a:xfrm>
          <a:custGeom>
            <a:avLst/>
            <a:gdLst>
              <a:gd name="connsiteX0" fmla="*/ 0 w 1188468"/>
              <a:gd name="connsiteY0" fmla="*/ 0 h 171450"/>
              <a:gd name="connsiteX1" fmla="*/ 336134 w 1188468"/>
              <a:gd name="connsiteY1" fmla="*/ 0 h 171450"/>
              <a:gd name="connsiteX2" fmla="*/ 1188468 w 1188468"/>
              <a:gd name="connsiteY2" fmla="*/ 0 h 171450"/>
              <a:gd name="connsiteX3" fmla="*/ 1168375 w 1188468"/>
              <a:gd name="connsiteY3" fmla="*/ 34787 h 171450"/>
              <a:gd name="connsiteX4" fmla="*/ 1089235 w 1188468"/>
              <a:gd name="connsiteY4" fmla="*/ 171450 h 171450"/>
              <a:gd name="connsiteX5" fmla="*/ 816864 w 1188468"/>
              <a:gd name="connsiteY5" fmla="*/ 171450 h 171450"/>
              <a:gd name="connsiteX6" fmla="*/ 237145 w 1188468"/>
              <a:gd name="connsiteY6" fmla="*/ 171450 h 171450"/>
              <a:gd name="connsiteX7" fmla="*/ 0 w 1188468"/>
              <a:gd name="connsiteY7" fmla="*/ 171450 h 171450"/>
              <a:gd name="connsiteX8" fmla="*/ 0 w 1188468"/>
              <a:gd name="connsiteY8" fmla="*/ 0 h 171450"/>
              <a:gd name="connsiteX0" fmla="*/ 0 w 1188468"/>
              <a:gd name="connsiteY0" fmla="*/ 0 h 171450"/>
              <a:gd name="connsiteX1" fmla="*/ 336134 w 1188468"/>
              <a:gd name="connsiteY1" fmla="*/ 0 h 171450"/>
              <a:gd name="connsiteX2" fmla="*/ 1188468 w 1188468"/>
              <a:gd name="connsiteY2" fmla="*/ 0 h 171450"/>
              <a:gd name="connsiteX3" fmla="*/ 1089235 w 1188468"/>
              <a:gd name="connsiteY3" fmla="*/ 171450 h 171450"/>
              <a:gd name="connsiteX4" fmla="*/ 816864 w 1188468"/>
              <a:gd name="connsiteY4" fmla="*/ 171450 h 171450"/>
              <a:gd name="connsiteX5" fmla="*/ 237145 w 1188468"/>
              <a:gd name="connsiteY5" fmla="*/ 171450 h 171450"/>
              <a:gd name="connsiteX6" fmla="*/ 0 w 1188468"/>
              <a:gd name="connsiteY6" fmla="*/ 171450 h 171450"/>
              <a:gd name="connsiteX7" fmla="*/ 0 w 1188468"/>
              <a:gd name="connsiteY7" fmla="*/ 0 h 171450"/>
              <a:gd name="connsiteX0" fmla="*/ 0 w 1188468"/>
              <a:gd name="connsiteY0" fmla="*/ 0 h 171450"/>
              <a:gd name="connsiteX1" fmla="*/ 336134 w 1188468"/>
              <a:gd name="connsiteY1" fmla="*/ 0 h 171450"/>
              <a:gd name="connsiteX2" fmla="*/ 1188468 w 1188468"/>
              <a:gd name="connsiteY2" fmla="*/ 0 h 171450"/>
              <a:gd name="connsiteX3" fmla="*/ 1089235 w 1188468"/>
              <a:gd name="connsiteY3" fmla="*/ 171450 h 171450"/>
              <a:gd name="connsiteX4" fmla="*/ 237145 w 1188468"/>
              <a:gd name="connsiteY4" fmla="*/ 171450 h 171450"/>
              <a:gd name="connsiteX5" fmla="*/ 0 w 1188468"/>
              <a:gd name="connsiteY5" fmla="*/ 171450 h 171450"/>
              <a:gd name="connsiteX6" fmla="*/ 0 w 1188468"/>
              <a:gd name="connsiteY6" fmla="*/ 0 h 171450"/>
              <a:gd name="connsiteX0" fmla="*/ 0 w 1188468"/>
              <a:gd name="connsiteY0" fmla="*/ 0 h 171450"/>
              <a:gd name="connsiteX1" fmla="*/ 1188468 w 1188468"/>
              <a:gd name="connsiteY1" fmla="*/ 0 h 171450"/>
              <a:gd name="connsiteX2" fmla="*/ 1089235 w 1188468"/>
              <a:gd name="connsiteY2" fmla="*/ 171450 h 171450"/>
              <a:gd name="connsiteX3" fmla="*/ 237145 w 1188468"/>
              <a:gd name="connsiteY3" fmla="*/ 171450 h 171450"/>
              <a:gd name="connsiteX4" fmla="*/ 0 w 1188468"/>
              <a:gd name="connsiteY4" fmla="*/ 171450 h 171450"/>
              <a:gd name="connsiteX5" fmla="*/ 0 w 1188468"/>
              <a:gd name="connsiteY5" fmla="*/ 0 h 171450"/>
              <a:gd name="connsiteX0" fmla="*/ 0 w 1188468"/>
              <a:gd name="connsiteY0" fmla="*/ 0 h 171450"/>
              <a:gd name="connsiteX1" fmla="*/ 1188468 w 1188468"/>
              <a:gd name="connsiteY1" fmla="*/ 0 h 171450"/>
              <a:gd name="connsiteX2" fmla="*/ 1089235 w 1188468"/>
              <a:gd name="connsiteY2" fmla="*/ 171450 h 171450"/>
              <a:gd name="connsiteX3" fmla="*/ 0 w 1188468"/>
              <a:gd name="connsiteY3" fmla="*/ 171450 h 171450"/>
              <a:gd name="connsiteX4" fmla="*/ 0 w 1188468"/>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468" h="171450">
                <a:moveTo>
                  <a:pt x="0" y="0"/>
                </a:moveTo>
                <a:lnTo>
                  <a:pt x="1188468" y="0"/>
                </a:lnTo>
                <a:lnTo>
                  <a:pt x="1089235" y="171450"/>
                </a:lnTo>
                <a:lnTo>
                  <a:pt x="0" y="171450"/>
                </a:lnTo>
                <a:lnTo>
                  <a:pt x="0" y="0"/>
                </a:lnTo>
                <a:close/>
              </a:path>
            </a:pathLst>
          </a:custGeom>
          <a:solidFill>
            <a:schemeClr val="bg2"/>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sp>
        <p:nvSpPr>
          <p:cNvPr id="28" name="Rectangle 17"/>
          <p:cNvSpPr/>
          <p:nvPr/>
        </p:nvSpPr>
        <p:spPr bwMode="auto">
          <a:xfrm>
            <a:off x="8139112" y="0"/>
            <a:ext cx="1004886" cy="171450"/>
          </a:xfrm>
          <a:custGeom>
            <a:avLst/>
            <a:gdLst>
              <a:gd name="connsiteX0" fmla="*/ 99233 w 1004886"/>
              <a:gd name="connsiteY0" fmla="*/ 0 h 171450"/>
              <a:gd name="connsiteX1" fmla="*/ 456246 w 1004886"/>
              <a:gd name="connsiteY1" fmla="*/ 0 h 171450"/>
              <a:gd name="connsiteX2" fmla="*/ 496998 w 1004886"/>
              <a:gd name="connsiteY2" fmla="*/ 0 h 171450"/>
              <a:gd name="connsiteX3" fmla="*/ 828773 w 1004886"/>
              <a:gd name="connsiteY3" fmla="*/ 0 h 171450"/>
              <a:gd name="connsiteX4" fmla="*/ 1004886 w 1004886"/>
              <a:gd name="connsiteY4" fmla="*/ 0 h 171450"/>
              <a:gd name="connsiteX5" fmla="*/ 1004886 w 1004886"/>
              <a:gd name="connsiteY5" fmla="*/ 171450 h 171450"/>
              <a:gd name="connsiteX6" fmla="*/ 729540 w 1004886"/>
              <a:gd name="connsiteY6" fmla="*/ 171450 h 171450"/>
              <a:gd name="connsiteX7" fmla="*/ 555354 w 1004886"/>
              <a:gd name="connsiteY7" fmla="*/ 171450 h 171450"/>
              <a:gd name="connsiteX8" fmla="*/ 539405 w 1004886"/>
              <a:gd name="connsiteY8" fmla="*/ 171450 h 171450"/>
              <a:gd name="connsiteX9" fmla="*/ 464521 w 1004886"/>
              <a:gd name="connsiteY9" fmla="*/ 171450 h 171450"/>
              <a:gd name="connsiteX10" fmla="*/ 0 w 1004886"/>
              <a:gd name="connsiteY10" fmla="*/ 171450 h 171450"/>
              <a:gd name="connsiteX11" fmla="*/ 99233 w 1004886"/>
              <a:gd name="connsiteY11" fmla="*/ 0 h 171450"/>
              <a:gd name="connsiteX0" fmla="*/ 99233 w 1004886"/>
              <a:gd name="connsiteY0" fmla="*/ 0 h 171450"/>
              <a:gd name="connsiteX1" fmla="*/ 456246 w 1004886"/>
              <a:gd name="connsiteY1" fmla="*/ 0 h 171450"/>
              <a:gd name="connsiteX2" fmla="*/ 828773 w 1004886"/>
              <a:gd name="connsiteY2" fmla="*/ 0 h 171450"/>
              <a:gd name="connsiteX3" fmla="*/ 1004886 w 1004886"/>
              <a:gd name="connsiteY3" fmla="*/ 0 h 171450"/>
              <a:gd name="connsiteX4" fmla="*/ 1004886 w 1004886"/>
              <a:gd name="connsiteY4" fmla="*/ 171450 h 171450"/>
              <a:gd name="connsiteX5" fmla="*/ 729540 w 1004886"/>
              <a:gd name="connsiteY5" fmla="*/ 171450 h 171450"/>
              <a:gd name="connsiteX6" fmla="*/ 555354 w 1004886"/>
              <a:gd name="connsiteY6" fmla="*/ 171450 h 171450"/>
              <a:gd name="connsiteX7" fmla="*/ 539405 w 1004886"/>
              <a:gd name="connsiteY7" fmla="*/ 171450 h 171450"/>
              <a:gd name="connsiteX8" fmla="*/ 464521 w 1004886"/>
              <a:gd name="connsiteY8" fmla="*/ 171450 h 171450"/>
              <a:gd name="connsiteX9" fmla="*/ 0 w 1004886"/>
              <a:gd name="connsiteY9" fmla="*/ 171450 h 171450"/>
              <a:gd name="connsiteX10" fmla="*/ 99233 w 1004886"/>
              <a:gd name="connsiteY10" fmla="*/ 0 h 171450"/>
              <a:gd name="connsiteX0" fmla="*/ 99233 w 1004886"/>
              <a:gd name="connsiteY0" fmla="*/ 0 h 171450"/>
              <a:gd name="connsiteX1" fmla="*/ 828773 w 1004886"/>
              <a:gd name="connsiteY1" fmla="*/ 0 h 171450"/>
              <a:gd name="connsiteX2" fmla="*/ 1004886 w 1004886"/>
              <a:gd name="connsiteY2" fmla="*/ 0 h 171450"/>
              <a:gd name="connsiteX3" fmla="*/ 1004886 w 1004886"/>
              <a:gd name="connsiteY3" fmla="*/ 171450 h 171450"/>
              <a:gd name="connsiteX4" fmla="*/ 729540 w 1004886"/>
              <a:gd name="connsiteY4" fmla="*/ 171450 h 171450"/>
              <a:gd name="connsiteX5" fmla="*/ 555354 w 1004886"/>
              <a:gd name="connsiteY5" fmla="*/ 171450 h 171450"/>
              <a:gd name="connsiteX6" fmla="*/ 539405 w 1004886"/>
              <a:gd name="connsiteY6" fmla="*/ 171450 h 171450"/>
              <a:gd name="connsiteX7" fmla="*/ 464521 w 1004886"/>
              <a:gd name="connsiteY7" fmla="*/ 171450 h 171450"/>
              <a:gd name="connsiteX8" fmla="*/ 0 w 1004886"/>
              <a:gd name="connsiteY8" fmla="*/ 171450 h 171450"/>
              <a:gd name="connsiteX9" fmla="*/ 99233 w 1004886"/>
              <a:gd name="connsiteY9" fmla="*/ 0 h 171450"/>
              <a:gd name="connsiteX0" fmla="*/ 99233 w 1004886"/>
              <a:gd name="connsiteY0" fmla="*/ 0 h 171450"/>
              <a:gd name="connsiteX1" fmla="*/ 1004886 w 1004886"/>
              <a:gd name="connsiteY1" fmla="*/ 0 h 171450"/>
              <a:gd name="connsiteX2" fmla="*/ 1004886 w 1004886"/>
              <a:gd name="connsiteY2" fmla="*/ 171450 h 171450"/>
              <a:gd name="connsiteX3" fmla="*/ 729540 w 1004886"/>
              <a:gd name="connsiteY3" fmla="*/ 171450 h 171450"/>
              <a:gd name="connsiteX4" fmla="*/ 555354 w 1004886"/>
              <a:gd name="connsiteY4" fmla="*/ 171450 h 171450"/>
              <a:gd name="connsiteX5" fmla="*/ 539405 w 1004886"/>
              <a:gd name="connsiteY5" fmla="*/ 171450 h 171450"/>
              <a:gd name="connsiteX6" fmla="*/ 464521 w 1004886"/>
              <a:gd name="connsiteY6" fmla="*/ 171450 h 171450"/>
              <a:gd name="connsiteX7" fmla="*/ 0 w 1004886"/>
              <a:gd name="connsiteY7" fmla="*/ 171450 h 171450"/>
              <a:gd name="connsiteX8" fmla="*/ 99233 w 1004886"/>
              <a:gd name="connsiteY8" fmla="*/ 0 h 171450"/>
              <a:gd name="connsiteX0" fmla="*/ 99233 w 1004886"/>
              <a:gd name="connsiteY0" fmla="*/ 0 h 171450"/>
              <a:gd name="connsiteX1" fmla="*/ 1004886 w 1004886"/>
              <a:gd name="connsiteY1" fmla="*/ 0 h 171450"/>
              <a:gd name="connsiteX2" fmla="*/ 1004886 w 1004886"/>
              <a:gd name="connsiteY2" fmla="*/ 171450 h 171450"/>
              <a:gd name="connsiteX3" fmla="*/ 555354 w 1004886"/>
              <a:gd name="connsiteY3" fmla="*/ 171450 h 171450"/>
              <a:gd name="connsiteX4" fmla="*/ 539405 w 1004886"/>
              <a:gd name="connsiteY4" fmla="*/ 171450 h 171450"/>
              <a:gd name="connsiteX5" fmla="*/ 464521 w 1004886"/>
              <a:gd name="connsiteY5" fmla="*/ 171450 h 171450"/>
              <a:gd name="connsiteX6" fmla="*/ 0 w 1004886"/>
              <a:gd name="connsiteY6" fmla="*/ 171450 h 171450"/>
              <a:gd name="connsiteX7" fmla="*/ 99233 w 1004886"/>
              <a:gd name="connsiteY7" fmla="*/ 0 h 171450"/>
              <a:gd name="connsiteX0" fmla="*/ 99233 w 1004886"/>
              <a:gd name="connsiteY0" fmla="*/ 0 h 171450"/>
              <a:gd name="connsiteX1" fmla="*/ 1004886 w 1004886"/>
              <a:gd name="connsiteY1" fmla="*/ 0 h 171450"/>
              <a:gd name="connsiteX2" fmla="*/ 1004886 w 1004886"/>
              <a:gd name="connsiteY2" fmla="*/ 171450 h 171450"/>
              <a:gd name="connsiteX3" fmla="*/ 539405 w 1004886"/>
              <a:gd name="connsiteY3" fmla="*/ 171450 h 171450"/>
              <a:gd name="connsiteX4" fmla="*/ 464521 w 1004886"/>
              <a:gd name="connsiteY4" fmla="*/ 171450 h 171450"/>
              <a:gd name="connsiteX5" fmla="*/ 0 w 1004886"/>
              <a:gd name="connsiteY5" fmla="*/ 171450 h 171450"/>
              <a:gd name="connsiteX6" fmla="*/ 99233 w 1004886"/>
              <a:gd name="connsiteY6" fmla="*/ 0 h 171450"/>
              <a:gd name="connsiteX0" fmla="*/ 99233 w 1004886"/>
              <a:gd name="connsiteY0" fmla="*/ 0 h 171450"/>
              <a:gd name="connsiteX1" fmla="*/ 1004886 w 1004886"/>
              <a:gd name="connsiteY1" fmla="*/ 0 h 171450"/>
              <a:gd name="connsiteX2" fmla="*/ 1004886 w 1004886"/>
              <a:gd name="connsiteY2" fmla="*/ 171450 h 171450"/>
              <a:gd name="connsiteX3" fmla="*/ 464521 w 1004886"/>
              <a:gd name="connsiteY3" fmla="*/ 171450 h 171450"/>
              <a:gd name="connsiteX4" fmla="*/ 0 w 1004886"/>
              <a:gd name="connsiteY4" fmla="*/ 171450 h 171450"/>
              <a:gd name="connsiteX5" fmla="*/ 99233 w 1004886"/>
              <a:gd name="connsiteY5" fmla="*/ 0 h 171450"/>
              <a:gd name="connsiteX0" fmla="*/ 99233 w 1004886"/>
              <a:gd name="connsiteY0" fmla="*/ 0 h 171450"/>
              <a:gd name="connsiteX1" fmla="*/ 1004886 w 1004886"/>
              <a:gd name="connsiteY1" fmla="*/ 0 h 171450"/>
              <a:gd name="connsiteX2" fmla="*/ 1004886 w 1004886"/>
              <a:gd name="connsiteY2" fmla="*/ 171450 h 171450"/>
              <a:gd name="connsiteX3" fmla="*/ 0 w 1004886"/>
              <a:gd name="connsiteY3" fmla="*/ 171450 h 171450"/>
              <a:gd name="connsiteX4" fmla="*/ 99233 w 1004886"/>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86" h="171450">
                <a:moveTo>
                  <a:pt x="99233" y="0"/>
                </a:moveTo>
                <a:lnTo>
                  <a:pt x="1004886" y="0"/>
                </a:lnTo>
                <a:lnTo>
                  <a:pt x="1004886" y="171450"/>
                </a:lnTo>
                <a:lnTo>
                  <a:pt x="0" y="171450"/>
                </a:lnTo>
                <a:lnTo>
                  <a:pt x="99233" y="0"/>
                </a:lnTo>
                <a:close/>
              </a:path>
            </a:pathLst>
          </a:custGeom>
          <a:solidFill>
            <a:schemeClr val="accent4"/>
          </a:solidFill>
          <a:ln w="6350" cap="flat">
            <a:noFill/>
            <a:prstDash val="solid"/>
            <a:miter lim="800000"/>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38454F"/>
              </a:solidFill>
            </a:endParaRPr>
          </a:p>
        </p:txBody>
      </p:sp>
      <p:grpSp>
        <p:nvGrpSpPr>
          <p:cNvPr id="33" name="Group 32"/>
          <p:cNvGrpSpPr>
            <a:grpSpLocks noChangeAspect="1"/>
          </p:cNvGrpSpPr>
          <p:nvPr/>
        </p:nvGrpSpPr>
        <p:grpSpPr>
          <a:xfrm>
            <a:off x="374651" y="6431112"/>
            <a:ext cx="1673352" cy="328463"/>
            <a:chOff x="374651" y="6029325"/>
            <a:chExt cx="2054224" cy="403225"/>
          </a:xfrm>
        </p:grpSpPr>
        <p:sp>
          <p:nvSpPr>
            <p:cNvPr id="34" name="Freeform 21"/>
            <p:cNvSpPr>
              <a:spLocks/>
            </p:cNvSpPr>
            <p:nvPr userDrawn="1"/>
          </p:nvSpPr>
          <p:spPr bwMode="auto">
            <a:xfrm>
              <a:off x="374651" y="6030912"/>
              <a:ext cx="333374" cy="223838"/>
            </a:xfrm>
            <a:custGeom>
              <a:avLst/>
              <a:gdLst/>
              <a:ahLst/>
              <a:cxnLst/>
              <a:rect l="l" t="t" r="r" b="b"/>
              <a:pathLst>
                <a:path w="333374" h="223838">
                  <a:moveTo>
                    <a:pt x="0" y="0"/>
                  </a:moveTo>
                  <a:lnTo>
                    <a:pt x="203200" y="0"/>
                  </a:lnTo>
                  <a:lnTo>
                    <a:pt x="231775" y="47625"/>
                  </a:lnTo>
                  <a:lnTo>
                    <a:pt x="231775" y="47626"/>
                  </a:lnTo>
                  <a:lnTo>
                    <a:pt x="333374" y="223838"/>
                  </a:lnTo>
                  <a:lnTo>
                    <a:pt x="130175" y="223838"/>
                  </a:lnTo>
                  <a:lnTo>
                    <a:pt x="130174" y="223838"/>
                  </a:lnTo>
                  <a:lnTo>
                    <a:pt x="130175" y="22383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5" name="AutoShape 6"/>
            <p:cNvSpPr>
              <a:spLocks noChangeAspect="1" noChangeArrowheads="1" noTextEdit="1"/>
            </p:cNvSpPr>
            <p:nvPr userDrawn="1"/>
          </p:nvSpPr>
          <p:spPr bwMode="auto">
            <a:xfrm>
              <a:off x="376238" y="6029325"/>
              <a:ext cx="2052637"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6" name="Freeform 35"/>
            <p:cNvSpPr>
              <a:spLocks/>
            </p:cNvSpPr>
            <p:nvPr userDrawn="1"/>
          </p:nvSpPr>
          <p:spPr bwMode="auto">
            <a:xfrm>
              <a:off x="869950" y="6156325"/>
              <a:ext cx="169862" cy="180975"/>
            </a:xfrm>
            <a:custGeom>
              <a:avLst/>
              <a:gdLst>
                <a:gd name="T0" fmla="*/ 87 w 107"/>
                <a:gd name="T1" fmla="*/ 0 h 114"/>
                <a:gd name="T2" fmla="*/ 53 w 107"/>
                <a:gd name="T3" fmla="*/ 70 h 114"/>
                <a:gd name="T4" fmla="*/ 20 w 107"/>
                <a:gd name="T5" fmla="*/ 0 h 114"/>
                <a:gd name="T6" fmla="*/ 0 w 107"/>
                <a:gd name="T7" fmla="*/ 0 h 114"/>
                <a:gd name="T8" fmla="*/ 53 w 107"/>
                <a:gd name="T9" fmla="*/ 114 h 114"/>
                <a:gd name="T10" fmla="*/ 107 w 107"/>
                <a:gd name="T11" fmla="*/ 0 h 114"/>
                <a:gd name="T12" fmla="*/ 87 w 107"/>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07" h="114">
                  <a:moveTo>
                    <a:pt x="87" y="0"/>
                  </a:moveTo>
                  <a:lnTo>
                    <a:pt x="53" y="70"/>
                  </a:lnTo>
                  <a:lnTo>
                    <a:pt x="20" y="0"/>
                  </a:lnTo>
                  <a:lnTo>
                    <a:pt x="0" y="0"/>
                  </a:lnTo>
                  <a:lnTo>
                    <a:pt x="53" y="114"/>
                  </a:lnTo>
                  <a:lnTo>
                    <a:pt x="107" y="0"/>
                  </a:lnTo>
                  <a:lnTo>
                    <a:pt x="87" y="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7" name="Freeform 36"/>
            <p:cNvSpPr>
              <a:spLocks/>
            </p:cNvSpPr>
            <p:nvPr userDrawn="1"/>
          </p:nvSpPr>
          <p:spPr bwMode="auto">
            <a:xfrm>
              <a:off x="1131888" y="6151563"/>
              <a:ext cx="138112" cy="185738"/>
            </a:xfrm>
            <a:custGeom>
              <a:avLst/>
              <a:gdLst>
                <a:gd name="T0" fmla="*/ 20 w 118"/>
                <a:gd name="T1" fmla="*/ 114 h 158"/>
                <a:gd name="T2" fmla="*/ 58 w 118"/>
                <a:gd name="T3" fmla="*/ 135 h 158"/>
                <a:gd name="T4" fmla="*/ 91 w 118"/>
                <a:gd name="T5" fmla="*/ 112 h 158"/>
                <a:gd name="T6" fmla="*/ 59 w 118"/>
                <a:gd name="T7" fmla="*/ 88 h 158"/>
                <a:gd name="T8" fmla="*/ 7 w 118"/>
                <a:gd name="T9" fmla="*/ 44 h 158"/>
                <a:gd name="T10" fmla="*/ 63 w 118"/>
                <a:gd name="T11" fmla="*/ 0 h 158"/>
                <a:gd name="T12" fmla="*/ 113 w 118"/>
                <a:gd name="T13" fmla="*/ 28 h 158"/>
                <a:gd name="T14" fmla="*/ 93 w 118"/>
                <a:gd name="T15" fmla="*/ 41 h 158"/>
                <a:gd name="T16" fmla="*/ 61 w 118"/>
                <a:gd name="T17" fmla="*/ 23 h 158"/>
                <a:gd name="T18" fmla="*/ 32 w 118"/>
                <a:gd name="T19" fmla="*/ 44 h 158"/>
                <a:gd name="T20" fmla="*/ 69 w 118"/>
                <a:gd name="T21" fmla="*/ 66 h 158"/>
                <a:gd name="T22" fmla="*/ 118 w 118"/>
                <a:gd name="T23" fmla="*/ 111 h 158"/>
                <a:gd name="T24" fmla="*/ 58 w 118"/>
                <a:gd name="T25" fmla="*/ 158 h 158"/>
                <a:gd name="T26" fmla="*/ 0 w 118"/>
                <a:gd name="T27" fmla="*/ 130 h 158"/>
                <a:gd name="T28" fmla="*/ 20 w 118"/>
                <a:gd name="T29"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58">
                  <a:moveTo>
                    <a:pt x="20" y="114"/>
                  </a:moveTo>
                  <a:cubicBezTo>
                    <a:pt x="30" y="127"/>
                    <a:pt x="41" y="135"/>
                    <a:pt x="58" y="135"/>
                  </a:cubicBezTo>
                  <a:cubicBezTo>
                    <a:pt x="74" y="135"/>
                    <a:pt x="91" y="128"/>
                    <a:pt x="91" y="112"/>
                  </a:cubicBezTo>
                  <a:cubicBezTo>
                    <a:pt x="91" y="96"/>
                    <a:pt x="75" y="91"/>
                    <a:pt x="59" y="88"/>
                  </a:cubicBezTo>
                  <a:cubicBezTo>
                    <a:pt x="31" y="82"/>
                    <a:pt x="7" y="75"/>
                    <a:pt x="7" y="44"/>
                  </a:cubicBezTo>
                  <a:cubicBezTo>
                    <a:pt x="7" y="15"/>
                    <a:pt x="35" y="0"/>
                    <a:pt x="63" y="0"/>
                  </a:cubicBezTo>
                  <a:cubicBezTo>
                    <a:pt x="84" y="0"/>
                    <a:pt x="103" y="8"/>
                    <a:pt x="113" y="28"/>
                  </a:cubicBezTo>
                  <a:cubicBezTo>
                    <a:pt x="93" y="41"/>
                    <a:pt x="93" y="41"/>
                    <a:pt x="93" y="41"/>
                  </a:cubicBezTo>
                  <a:cubicBezTo>
                    <a:pt x="86" y="31"/>
                    <a:pt x="76" y="23"/>
                    <a:pt x="61" y="23"/>
                  </a:cubicBezTo>
                  <a:cubicBezTo>
                    <a:pt x="47" y="23"/>
                    <a:pt x="32" y="30"/>
                    <a:pt x="32" y="44"/>
                  </a:cubicBezTo>
                  <a:cubicBezTo>
                    <a:pt x="32" y="57"/>
                    <a:pt x="49" y="62"/>
                    <a:pt x="69" y="66"/>
                  </a:cubicBezTo>
                  <a:cubicBezTo>
                    <a:pt x="96" y="71"/>
                    <a:pt x="118" y="81"/>
                    <a:pt x="118" y="111"/>
                  </a:cubicBezTo>
                  <a:cubicBezTo>
                    <a:pt x="118" y="144"/>
                    <a:pt x="88" y="158"/>
                    <a:pt x="58" y="158"/>
                  </a:cubicBezTo>
                  <a:cubicBezTo>
                    <a:pt x="33" y="158"/>
                    <a:pt x="15" y="151"/>
                    <a:pt x="0" y="130"/>
                  </a:cubicBezTo>
                  <a:lnTo>
                    <a:pt x="20" y="1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8" name="Freeform 37"/>
            <p:cNvSpPr>
              <a:spLocks/>
            </p:cNvSpPr>
            <p:nvPr userDrawn="1"/>
          </p:nvSpPr>
          <p:spPr bwMode="auto">
            <a:xfrm>
              <a:off x="1285875" y="6107113"/>
              <a:ext cx="119062" cy="230188"/>
            </a:xfrm>
            <a:custGeom>
              <a:avLst/>
              <a:gdLst>
                <a:gd name="T0" fmla="*/ 101 w 102"/>
                <a:gd name="T1" fmla="*/ 63 h 196"/>
                <a:gd name="T2" fmla="*/ 57 w 102"/>
                <a:gd name="T3" fmla="*/ 63 h 196"/>
                <a:gd name="T4" fmla="*/ 57 w 102"/>
                <a:gd name="T5" fmla="*/ 138 h 196"/>
                <a:gd name="T6" fmla="*/ 79 w 102"/>
                <a:gd name="T7" fmla="*/ 173 h 196"/>
                <a:gd name="T8" fmla="*/ 101 w 102"/>
                <a:gd name="T9" fmla="*/ 167 h 196"/>
                <a:gd name="T10" fmla="*/ 102 w 102"/>
                <a:gd name="T11" fmla="*/ 190 h 196"/>
                <a:gd name="T12" fmla="*/ 73 w 102"/>
                <a:gd name="T13" fmla="*/ 196 h 196"/>
                <a:gd name="T14" fmla="*/ 32 w 102"/>
                <a:gd name="T15" fmla="*/ 145 h 196"/>
                <a:gd name="T16" fmla="*/ 32 w 102"/>
                <a:gd name="T17" fmla="*/ 63 h 196"/>
                <a:gd name="T18" fmla="*/ 0 w 102"/>
                <a:gd name="T19" fmla="*/ 63 h 196"/>
                <a:gd name="T20" fmla="*/ 0 w 102"/>
                <a:gd name="T21" fmla="*/ 42 h 196"/>
                <a:gd name="T22" fmla="*/ 32 w 102"/>
                <a:gd name="T23" fmla="*/ 42 h 196"/>
                <a:gd name="T24" fmla="*/ 32 w 102"/>
                <a:gd name="T25" fmla="*/ 0 h 196"/>
                <a:gd name="T26" fmla="*/ 57 w 102"/>
                <a:gd name="T27" fmla="*/ 0 h 196"/>
                <a:gd name="T28" fmla="*/ 57 w 102"/>
                <a:gd name="T29" fmla="*/ 42 h 196"/>
                <a:gd name="T30" fmla="*/ 101 w 102"/>
                <a:gd name="T31" fmla="*/ 42 h 196"/>
                <a:gd name="T32" fmla="*/ 101 w 102"/>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96">
                  <a:moveTo>
                    <a:pt x="101" y="63"/>
                  </a:moveTo>
                  <a:cubicBezTo>
                    <a:pt x="57" y="63"/>
                    <a:pt x="57" y="63"/>
                    <a:pt x="57" y="63"/>
                  </a:cubicBezTo>
                  <a:cubicBezTo>
                    <a:pt x="57" y="138"/>
                    <a:pt x="57" y="138"/>
                    <a:pt x="57" y="138"/>
                  </a:cubicBezTo>
                  <a:cubicBezTo>
                    <a:pt x="57" y="157"/>
                    <a:pt x="57" y="173"/>
                    <a:pt x="79" y="173"/>
                  </a:cubicBezTo>
                  <a:cubicBezTo>
                    <a:pt x="87" y="173"/>
                    <a:pt x="95" y="171"/>
                    <a:pt x="101" y="167"/>
                  </a:cubicBezTo>
                  <a:cubicBezTo>
                    <a:pt x="102" y="190"/>
                    <a:pt x="102" y="190"/>
                    <a:pt x="102"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39" name="Freeform 38"/>
            <p:cNvSpPr>
              <a:spLocks/>
            </p:cNvSpPr>
            <p:nvPr userDrawn="1"/>
          </p:nvSpPr>
          <p:spPr bwMode="auto">
            <a:xfrm>
              <a:off x="2243138" y="6107113"/>
              <a:ext cx="120650" cy="230188"/>
            </a:xfrm>
            <a:custGeom>
              <a:avLst/>
              <a:gdLst>
                <a:gd name="T0" fmla="*/ 101 w 103"/>
                <a:gd name="T1" fmla="*/ 63 h 196"/>
                <a:gd name="T2" fmla="*/ 57 w 103"/>
                <a:gd name="T3" fmla="*/ 63 h 196"/>
                <a:gd name="T4" fmla="*/ 57 w 103"/>
                <a:gd name="T5" fmla="*/ 138 h 196"/>
                <a:gd name="T6" fmla="*/ 80 w 103"/>
                <a:gd name="T7" fmla="*/ 173 h 196"/>
                <a:gd name="T8" fmla="*/ 102 w 103"/>
                <a:gd name="T9" fmla="*/ 167 h 196"/>
                <a:gd name="T10" fmla="*/ 103 w 103"/>
                <a:gd name="T11" fmla="*/ 190 h 196"/>
                <a:gd name="T12" fmla="*/ 73 w 103"/>
                <a:gd name="T13" fmla="*/ 196 h 196"/>
                <a:gd name="T14" fmla="*/ 32 w 103"/>
                <a:gd name="T15" fmla="*/ 145 h 196"/>
                <a:gd name="T16" fmla="*/ 32 w 103"/>
                <a:gd name="T17" fmla="*/ 63 h 196"/>
                <a:gd name="T18" fmla="*/ 0 w 103"/>
                <a:gd name="T19" fmla="*/ 63 h 196"/>
                <a:gd name="T20" fmla="*/ 0 w 103"/>
                <a:gd name="T21" fmla="*/ 42 h 196"/>
                <a:gd name="T22" fmla="*/ 32 w 103"/>
                <a:gd name="T23" fmla="*/ 42 h 196"/>
                <a:gd name="T24" fmla="*/ 32 w 103"/>
                <a:gd name="T25" fmla="*/ 0 h 196"/>
                <a:gd name="T26" fmla="*/ 57 w 103"/>
                <a:gd name="T27" fmla="*/ 0 h 196"/>
                <a:gd name="T28" fmla="*/ 57 w 103"/>
                <a:gd name="T29" fmla="*/ 42 h 196"/>
                <a:gd name="T30" fmla="*/ 101 w 103"/>
                <a:gd name="T31" fmla="*/ 42 h 196"/>
                <a:gd name="T32" fmla="*/ 101 w 103"/>
                <a:gd name="T33" fmla="*/ 6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96">
                  <a:moveTo>
                    <a:pt x="101" y="63"/>
                  </a:moveTo>
                  <a:cubicBezTo>
                    <a:pt x="57" y="63"/>
                    <a:pt x="57" y="63"/>
                    <a:pt x="57" y="63"/>
                  </a:cubicBezTo>
                  <a:cubicBezTo>
                    <a:pt x="57" y="138"/>
                    <a:pt x="57" y="138"/>
                    <a:pt x="57" y="138"/>
                  </a:cubicBezTo>
                  <a:cubicBezTo>
                    <a:pt x="57" y="157"/>
                    <a:pt x="57" y="173"/>
                    <a:pt x="80" y="173"/>
                  </a:cubicBezTo>
                  <a:cubicBezTo>
                    <a:pt x="87" y="173"/>
                    <a:pt x="95" y="171"/>
                    <a:pt x="102" y="167"/>
                  </a:cubicBezTo>
                  <a:cubicBezTo>
                    <a:pt x="103" y="190"/>
                    <a:pt x="103" y="190"/>
                    <a:pt x="103" y="190"/>
                  </a:cubicBezTo>
                  <a:cubicBezTo>
                    <a:pt x="94" y="194"/>
                    <a:pt x="83" y="196"/>
                    <a:pt x="73" y="196"/>
                  </a:cubicBezTo>
                  <a:cubicBezTo>
                    <a:pt x="38" y="196"/>
                    <a:pt x="32" y="176"/>
                    <a:pt x="32" y="145"/>
                  </a:cubicBezTo>
                  <a:cubicBezTo>
                    <a:pt x="32" y="63"/>
                    <a:pt x="32" y="63"/>
                    <a:pt x="32" y="63"/>
                  </a:cubicBezTo>
                  <a:cubicBezTo>
                    <a:pt x="0" y="63"/>
                    <a:pt x="0" y="63"/>
                    <a:pt x="0" y="63"/>
                  </a:cubicBezTo>
                  <a:cubicBezTo>
                    <a:pt x="0" y="42"/>
                    <a:pt x="0" y="42"/>
                    <a:pt x="0" y="42"/>
                  </a:cubicBezTo>
                  <a:cubicBezTo>
                    <a:pt x="32" y="42"/>
                    <a:pt x="32" y="42"/>
                    <a:pt x="32" y="42"/>
                  </a:cubicBezTo>
                  <a:cubicBezTo>
                    <a:pt x="32" y="0"/>
                    <a:pt x="32" y="0"/>
                    <a:pt x="32" y="0"/>
                  </a:cubicBezTo>
                  <a:cubicBezTo>
                    <a:pt x="57" y="0"/>
                    <a:pt x="57" y="0"/>
                    <a:pt x="57" y="0"/>
                  </a:cubicBezTo>
                  <a:cubicBezTo>
                    <a:pt x="57" y="42"/>
                    <a:pt x="57" y="42"/>
                    <a:pt x="57" y="42"/>
                  </a:cubicBezTo>
                  <a:cubicBezTo>
                    <a:pt x="101" y="42"/>
                    <a:pt x="101" y="42"/>
                    <a:pt x="101" y="42"/>
                  </a:cubicBezTo>
                  <a:lnTo>
                    <a:pt x="101" y="63"/>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0" name="Freeform 39"/>
            <p:cNvSpPr>
              <a:spLocks noEditPoints="1"/>
            </p:cNvSpPr>
            <p:nvPr userDrawn="1"/>
          </p:nvSpPr>
          <p:spPr bwMode="auto">
            <a:xfrm>
              <a:off x="1649413" y="6151563"/>
              <a:ext cx="184150" cy="247650"/>
            </a:xfrm>
            <a:custGeom>
              <a:avLst/>
              <a:gdLst>
                <a:gd name="T0" fmla="*/ 0 w 158"/>
                <a:gd name="T1" fmla="*/ 4 h 211"/>
                <a:gd name="T2" fmla="*/ 25 w 158"/>
                <a:gd name="T3" fmla="*/ 4 h 211"/>
                <a:gd name="T4" fmla="*/ 25 w 158"/>
                <a:gd name="T5" fmla="*/ 26 h 211"/>
                <a:gd name="T6" fmla="*/ 26 w 158"/>
                <a:gd name="T7" fmla="*/ 26 h 211"/>
                <a:gd name="T8" fmla="*/ 79 w 158"/>
                <a:gd name="T9" fmla="*/ 0 h 211"/>
                <a:gd name="T10" fmla="*/ 158 w 158"/>
                <a:gd name="T11" fmla="*/ 79 h 211"/>
                <a:gd name="T12" fmla="*/ 83 w 158"/>
                <a:gd name="T13" fmla="*/ 158 h 211"/>
                <a:gd name="T14" fmla="*/ 26 w 158"/>
                <a:gd name="T15" fmla="*/ 127 h 211"/>
                <a:gd name="T16" fmla="*/ 25 w 158"/>
                <a:gd name="T17" fmla="*/ 127 h 211"/>
                <a:gd name="T18" fmla="*/ 25 w 158"/>
                <a:gd name="T19" fmla="*/ 211 h 211"/>
                <a:gd name="T20" fmla="*/ 0 w 158"/>
                <a:gd name="T21" fmla="*/ 211 h 211"/>
                <a:gd name="T22" fmla="*/ 0 w 158"/>
                <a:gd name="T23" fmla="*/ 4 h 211"/>
                <a:gd name="T24" fmla="*/ 78 w 158"/>
                <a:gd name="T25" fmla="*/ 135 h 211"/>
                <a:gd name="T26" fmla="*/ 131 w 158"/>
                <a:gd name="T27" fmla="*/ 79 h 211"/>
                <a:gd name="T28" fmla="*/ 78 w 158"/>
                <a:gd name="T29" fmla="*/ 23 h 211"/>
                <a:gd name="T30" fmla="*/ 25 w 158"/>
                <a:gd name="T31" fmla="*/ 79 h 211"/>
                <a:gd name="T32" fmla="*/ 78 w 158"/>
                <a:gd name="T33"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211">
                  <a:moveTo>
                    <a:pt x="0" y="4"/>
                  </a:moveTo>
                  <a:cubicBezTo>
                    <a:pt x="25" y="4"/>
                    <a:pt x="25" y="4"/>
                    <a:pt x="25" y="4"/>
                  </a:cubicBezTo>
                  <a:cubicBezTo>
                    <a:pt x="25" y="26"/>
                    <a:pt x="25" y="26"/>
                    <a:pt x="25" y="26"/>
                  </a:cubicBezTo>
                  <a:cubicBezTo>
                    <a:pt x="26" y="26"/>
                    <a:pt x="26" y="26"/>
                    <a:pt x="26" y="26"/>
                  </a:cubicBezTo>
                  <a:cubicBezTo>
                    <a:pt x="39" y="10"/>
                    <a:pt x="58" y="0"/>
                    <a:pt x="79" y="0"/>
                  </a:cubicBezTo>
                  <a:cubicBezTo>
                    <a:pt x="126" y="0"/>
                    <a:pt x="158" y="34"/>
                    <a:pt x="158" y="79"/>
                  </a:cubicBezTo>
                  <a:cubicBezTo>
                    <a:pt x="158" y="124"/>
                    <a:pt x="125" y="158"/>
                    <a:pt x="83" y="158"/>
                  </a:cubicBezTo>
                  <a:cubicBezTo>
                    <a:pt x="56" y="158"/>
                    <a:pt x="35" y="144"/>
                    <a:pt x="26" y="127"/>
                  </a:cubicBezTo>
                  <a:cubicBezTo>
                    <a:pt x="25" y="127"/>
                    <a:pt x="25" y="127"/>
                    <a:pt x="25" y="127"/>
                  </a:cubicBezTo>
                  <a:cubicBezTo>
                    <a:pt x="25" y="211"/>
                    <a:pt x="25" y="211"/>
                    <a:pt x="25" y="211"/>
                  </a:cubicBezTo>
                  <a:cubicBezTo>
                    <a:pt x="0" y="211"/>
                    <a:pt x="0" y="211"/>
                    <a:pt x="0" y="211"/>
                  </a:cubicBezTo>
                  <a:lnTo>
                    <a:pt x="0" y="4"/>
                  </a:lnTo>
                  <a:close/>
                  <a:moveTo>
                    <a:pt x="78" y="135"/>
                  </a:moveTo>
                  <a:cubicBezTo>
                    <a:pt x="110" y="135"/>
                    <a:pt x="131" y="110"/>
                    <a:pt x="131" y="79"/>
                  </a:cubicBezTo>
                  <a:cubicBezTo>
                    <a:pt x="131" y="48"/>
                    <a:pt x="110" y="23"/>
                    <a:pt x="78" y="23"/>
                  </a:cubicBezTo>
                  <a:cubicBezTo>
                    <a:pt x="46" y="23"/>
                    <a:pt x="25" y="48"/>
                    <a:pt x="25" y="79"/>
                  </a:cubicBezTo>
                  <a:cubicBezTo>
                    <a:pt x="25" y="110"/>
                    <a:pt x="46" y="135"/>
                    <a:pt x="78"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1" name="Freeform 40"/>
            <p:cNvSpPr>
              <a:spLocks noEditPoints="1"/>
            </p:cNvSpPr>
            <p:nvPr userDrawn="1"/>
          </p:nvSpPr>
          <p:spPr bwMode="auto">
            <a:xfrm>
              <a:off x="1423988" y="6151563"/>
              <a:ext cx="182562" cy="185738"/>
            </a:xfrm>
            <a:custGeom>
              <a:avLst/>
              <a:gdLst>
                <a:gd name="T0" fmla="*/ 158 w 158"/>
                <a:gd name="T1" fmla="*/ 4 h 158"/>
                <a:gd name="T2" fmla="*/ 133 w 158"/>
                <a:gd name="T3" fmla="*/ 4 h 158"/>
                <a:gd name="T4" fmla="*/ 133 w 158"/>
                <a:gd name="T5" fmla="*/ 26 h 158"/>
                <a:gd name="T6" fmla="*/ 132 w 158"/>
                <a:gd name="T7" fmla="*/ 26 h 158"/>
                <a:gd name="T8" fmla="*/ 79 w 158"/>
                <a:gd name="T9" fmla="*/ 0 h 158"/>
                <a:gd name="T10" fmla="*/ 0 w 158"/>
                <a:gd name="T11" fmla="*/ 79 h 158"/>
                <a:gd name="T12" fmla="*/ 75 w 158"/>
                <a:gd name="T13" fmla="*/ 158 h 158"/>
                <a:gd name="T14" fmla="*/ 132 w 158"/>
                <a:gd name="T15" fmla="*/ 127 h 158"/>
                <a:gd name="T16" fmla="*/ 133 w 158"/>
                <a:gd name="T17" fmla="*/ 127 h 158"/>
                <a:gd name="T18" fmla="*/ 133 w 158"/>
                <a:gd name="T19" fmla="*/ 154 h 158"/>
                <a:gd name="T20" fmla="*/ 158 w 158"/>
                <a:gd name="T21" fmla="*/ 154 h 158"/>
                <a:gd name="T22" fmla="*/ 158 w 158"/>
                <a:gd name="T23" fmla="*/ 4 h 158"/>
                <a:gd name="T24" fmla="*/ 80 w 158"/>
                <a:gd name="T25" fmla="*/ 135 h 158"/>
                <a:gd name="T26" fmla="*/ 27 w 158"/>
                <a:gd name="T27" fmla="*/ 79 h 158"/>
                <a:gd name="T28" fmla="*/ 80 w 158"/>
                <a:gd name="T29" fmla="*/ 23 h 158"/>
                <a:gd name="T30" fmla="*/ 133 w 158"/>
                <a:gd name="T31" fmla="*/ 79 h 158"/>
                <a:gd name="T32" fmla="*/ 80 w 158"/>
                <a:gd name="T33" fmla="*/ 1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158">
                  <a:moveTo>
                    <a:pt x="158" y="4"/>
                  </a:moveTo>
                  <a:cubicBezTo>
                    <a:pt x="133" y="4"/>
                    <a:pt x="133" y="4"/>
                    <a:pt x="133" y="4"/>
                  </a:cubicBezTo>
                  <a:cubicBezTo>
                    <a:pt x="133" y="26"/>
                    <a:pt x="133" y="26"/>
                    <a:pt x="133" y="26"/>
                  </a:cubicBezTo>
                  <a:cubicBezTo>
                    <a:pt x="132" y="26"/>
                    <a:pt x="132" y="26"/>
                    <a:pt x="132" y="26"/>
                  </a:cubicBezTo>
                  <a:cubicBezTo>
                    <a:pt x="119" y="10"/>
                    <a:pt x="100" y="0"/>
                    <a:pt x="79" y="0"/>
                  </a:cubicBezTo>
                  <a:cubicBezTo>
                    <a:pt x="32" y="0"/>
                    <a:pt x="0" y="34"/>
                    <a:pt x="0" y="79"/>
                  </a:cubicBezTo>
                  <a:cubicBezTo>
                    <a:pt x="0" y="124"/>
                    <a:pt x="33" y="158"/>
                    <a:pt x="75" y="158"/>
                  </a:cubicBezTo>
                  <a:cubicBezTo>
                    <a:pt x="102" y="158"/>
                    <a:pt x="123" y="144"/>
                    <a:pt x="132" y="127"/>
                  </a:cubicBezTo>
                  <a:cubicBezTo>
                    <a:pt x="133" y="127"/>
                    <a:pt x="133" y="127"/>
                    <a:pt x="133" y="127"/>
                  </a:cubicBezTo>
                  <a:cubicBezTo>
                    <a:pt x="133" y="154"/>
                    <a:pt x="133" y="154"/>
                    <a:pt x="133" y="154"/>
                  </a:cubicBezTo>
                  <a:cubicBezTo>
                    <a:pt x="158" y="154"/>
                    <a:pt x="158" y="154"/>
                    <a:pt x="158" y="154"/>
                  </a:cubicBezTo>
                  <a:lnTo>
                    <a:pt x="158" y="4"/>
                  </a:lnTo>
                  <a:close/>
                  <a:moveTo>
                    <a:pt x="80" y="135"/>
                  </a:moveTo>
                  <a:cubicBezTo>
                    <a:pt x="48" y="135"/>
                    <a:pt x="27" y="110"/>
                    <a:pt x="27" y="79"/>
                  </a:cubicBezTo>
                  <a:cubicBezTo>
                    <a:pt x="27" y="48"/>
                    <a:pt x="48" y="23"/>
                    <a:pt x="80" y="23"/>
                  </a:cubicBezTo>
                  <a:cubicBezTo>
                    <a:pt x="112" y="23"/>
                    <a:pt x="133" y="48"/>
                    <a:pt x="133" y="79"/>
                  </a:cubicBezTo>
                  <a:cubicBezTo>
                    <a:pt x="133" y="110"/>
                    <a:pt x="112" y="135"/>
                    <a:pt x="80" y="135"/>
                  </a:cubicBezTo>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2" name="Freeform 14"/>
            <p:cNvSpPr>
              <a:spLocks/>
            </p:cNvSpPr>
            <p:nvPr userDrawn="1"/>
          </p:nvSpPr>
          <p:spPr bwMode="auto">
            <a:xfrm>
              <a:off x="1860550" y="6151563"/>
              <a:ext cx="100012" cy="180975"/>
            </a:xfrm>
            <a:custGeom>
              <a:avLst/>
              <a:gdLst>
                <a:gd name="T0" fmla="*/ 1 w 85"/>
                <a:gd name="T1" fmla="*/ 40 h 154"/>
                <a:gd name="T2" fmla="*/ 0 w 85"/>
                <a:gd name="T3" fmla="*/ 4 h 154"/>
                <a:gd name="T4" fmla="*/ 24 w 85"/>
                <a:gd name="T5" fmla="*/ 4 h 154"/>
                <a:gd name="T6" fmla="*/ 24 w 85"/>
                <a:gd name="T7" fmla="*/ 29 h 154"/>
                <a:gd name="T8" fmla="*/ 25 w 85"/>
                <a:gd name="T9" fmla="*/ 29 h 154"/>
                <a:gd name="T10" fmla="*/ 75 w 85"/>
                <a:gd name="T11" fmla="*/ 0 h 154"/>
                <a:gd name="T12" fmla="*/ 85 w 85"/>
                <a:gd name="T13" fmla="*/ 2 h 154"/>
                <a:gd name="T14" fmla="*/ 83 w 85"/>
                <a:gd name="T15" fmla="*/ 27 h 154"/>
                <a:gd name="T16" fmla="*/ 70 w 85"/>
                <a:gd name="T17" fmla="*/ 25 h 154"/>
                <a:gd name="T18" fmla="*/ 26 w 85"/>
                <a:gd name="T19" fmla="*/ 81 h 154"/>
                <a:gd name="T20" fmla="*/ 26 w 85"/>
                <a:gd name="T21" fmla="*/ 154 h 154"/>
                <a:gd name="T22" fmla="*/ 1 w 85"/>
                <a:gd name="T23" fmla="*/ 154 h 154"/>
                <a:gd name="T24" fmla="*/ 1 w 85"/>
                <a:gd name="T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78" y="0"/>
                    <a:pt x="82" y="1"/>
                    <a:pt x="85" y="2"/>
                  </a:cubicBezTo>
                  <a:cubicBezTo>
                    <a:pt x="83" y="27"/>
                    <a:pt x="83" y="27"/>
                    <a:pt x="83" y="27"/>
                  </a:cubicBezTo>
                  <a:cubicBezTo>
                    <a:pt x="79" y="26"/>
                    <a:pt x="74" y="25"/>
                    <a:pt x="70" y="25"/>
                  </a:cubicBezTo>
                  <a:cubicBezTo>
                    <a:pt x="40" y="25"/>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3" name="Freeform 15"/>
            <p:cNvSpPr>
              <a:spLocks/>
            </p:cNvSpPr>
            <p:nvPr userDrawn="1"/>
          </p:nvSpPr>
          <p:spPr bwMode="auto">
            <a:xfrm>
              <a:off x="2068513" y="6151563"/>
              <a:ext cx="153987" cy="180975"/>
            </a:xfrm>
            <a:custGeom>
              <a:avLst/>
              <a:gdLst>
                <a:gd name="T0" fmla="*/ 1 w 132"/>
                <a:gd name="T1" fmla="*/ 40 h 154"/>
                <a:gd name="T2" fmla="*/ 0 w 132"/>
                <a:gd name="T3" fmla="*/ 4 h 154"/>
                <a:gd name="T4" fmla="*/ 24 w 132"/>
                <a:gd name="T5" fmla="*/ 4 h 154"/>
                <a:gd name="T6" fmla="*/ 24 w 132"/>
                <a:gd name="T7" fmla="*/ 29 h 154"/>
                <a:gd name="T8" fmla="*/ 25 w 132"/>
                <a:gd name="T9" fmla="*/ 29 h 154"/>
                <a:gd name="T10" fmla="*/ 75 w 132"/>
                <a:gd name="T11" fmla="*/ 0 h 154"/>
                <a:gd name="T12" fmla="*/ 132 w 132"/>
                <a:gd name="T13" fmla="*/ 61 h 154"/>
                <a:gd name="T14" fmla="*/ 132 w 132"/>
                <a:gd name="T15" fmla="*/ 154 h 154"/>
                <a:gd name="T16" fmla="*/ 107 w 132"/>
                <a:gd name="T17" fmla="*/ 154 h 154"/>
                <a:gd name="T18" fmla="*/ 107 w 132"/>
                <a:gd name="T19" fmla="*/ 64 h 154"/>
                <a:gd name="T20" fmla="*/ 72 w 132"/>
                <a:gd name="T21" fmla="*/ 23 h 154"/>
                <a:gd name="T22" fmla="*/ 26 w 132"/>
                <a:gd name="T23" fmla="*/ 81 h 154"/>
                <a:gd name="T24" fmla="*/ 26 w 132"/>
                <a:gd name="T25" fmla="*/ 154 h 154"/>
                <a:gd name="T26" fmla="*/ 1 w 132"/>
                <a:gd name="T27" fmla="*/ 154 h 154"/>
                <a:gd name="T28" fmla="*/ 1 w 132"/>
                <a:gd name="T29"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54">
                  <a:moveTo>
                    <a:pt x="1" y="40"/>
                  </a:moveTo>
                  <a:cubicBezTo>
                    <a:pt x="1" y="26"/>
                    <a:pt x="0" y="14"/>
                    <a:pt x="0" y="4"/>
                  </a:cubicBezTo>
                  <a:cubicBezTo>
                    <a:pt x="24" y="4"/>
                    <a:pt x="24" y="4"/>
                    <a:pt x="24" y="4"/>
                  </a:cubicBezTo>
                  <a:cubicBezTo>
                    <a:pt x="24" y="12"/>
                    <a:pt x="24" y="21"/>
                    <a:pt x="24" y="29"/>
                  </a:cubicBezTo>
                  <a:cubicBezTo>
                    <a:pt x="25" y="29"/>
                    <a:pt x="25" y="29"/>
                    <a:pt x="25" y="29"/>
                  </a:cubicBezTo>
                  <a:cubicBezTo>
                    <a:pt x="32" y="14"/>
                    <a:pt x="50" y="0"/>
                    <a:pt x="75" y="0"/>
                  </a:cubicBezTo>
                  <a:cubicBezTo>
                    <a:pt x="114" y="0"/>
                    <a:pt x="132" y="25"/>
                    <a:pt x="132" y="61"/>
                  </a:cubicBezTo>
                  <a:cubicBezTo>
                    <a:pt x="132" y="154"/>
                    <a:pt x="132" y="154"/>
                    <a:pt x="132" y="154"/>
                  </a:cubicBezTo>
                  <a:cubicBezTo>
                    <a:pt x="107" y="154"/>
                    <a:pt x="107" y="154"/>
                    <a:pt x="107" y="154"/>
                  </a:cubicBezTo>
                  <a:cubicBezTo>
                    <a:pt x="107" y="64"/>
                    <a:pt x="107" y="64"/>
                    <a:pt x="107" y="64"/>
                  </a:cubicBezTo>
                  <a:cubicBezTo>
                    <a:pt x="107" y="39"/>
                    <a:pt x="96" y="23"/>
                    <a:pt x="72" y="23"/>
                  </a:cubicBezTo>
                  <a:cubicBezTo>
                    <a:pt x="40" y="23"/>
                    <a:pt x="26" y="47"/>
                    <a:pt x="26" y="81"/>
                  </a:cubicBezTo>
                  <a:cubicBezTo>
                    <a:pt x="26" y="154"/>
                    <a:pt x="26" y="154"/>
                    <a:pt x="26" y="154"/>
                  </a:cubicBezTo>
                  <a:cubicBezTo>
                    <a:pt x="1" y="154"/>
                    <a:pt x="1" y="154"/>
                    <a:pt x="1" y="154"/>
                  </a:cubicBezTo>
                  <a:lnTo>
                    <a:pt x="1" y="40"/>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4" name="Rectangle 16"/>
            <p:cNvSpPr>
              <a:spLocks noChangeArrowheads="1"/>
            </p:cNvSpPr>
            <p:nvPr userDrawn="1"/>
          </p:nvSpPr>
          <p:spPr bwMode="auto">
            <a:xfrm>
              <a:off x="107315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5" name="Oval 17"/>
            <p:cNvSpPr>
              <a:spLocks noChangeArrowheads="1"/>
            </p:cNvSpPr>
            <p:nvPr userDrawn="1"/>
          </p:nvSpPr>
          <p:spPr bwMode="auto">
            <a:xfrm>
              <a:off x="1071563"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6" name="Rectangle 18"/>
            <p:cNvSpPr>
              <a:spLocks noChangeArrowheads="1"/>
            </p:cNvSpPr>
            <p:nvPr userDrawn="1"/>
          </p:nvSpPr>
          <p:spPr bwMode="auto">
            <a:xfrm>
              <a:off x="1993900" y="6156325"/>
              <a:ext cx="28575" cy="176213"/>
            </a:xfrm>
            <a:prstGeom prst="rect">
              <a:avLst/>
            </a:prstGeom>
            <a:solidFill>
              <a:srgbClr val="38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7" name="Oval 19"/>
            <p:cNvSpPr>
              <a:spLocks noChangeArrowheads="1"/>
            </p:cNvSpPr>
            <p:nvPr userDrawn="1"/>
          </p:nvSpPr>
          <p:spPr bwMode="auto">
            <a:xfrm>
              <a:off x="1990725" y="6105525"/>
              <a:ext cx="34925" cy="34925"/>
            </a:xfrm>
            <a:prstGeom prst="ellipse">
              <a:avLst/>
            </a:pr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8" name="Freeform 23"/>
            <p:cNvSpPr>
              <a:spLocks/>
            </p:cNvSpPr>
            <p:nvPr userDrawn="1"/>
          </p:nvSpPr>
          <p:spPr bwMode="auto">
            <a:xfrm>
              <a:off x="504825" y="6030913"/>
              <a:ext cx="331787" cy="400050"/>
            </a:xfrm>
            <a:custGeom>
              <a:avLst/>
              <a:gdLst/>
              <a:ahLst/>
              <a:cxnLst/>
              <a:rect l="l" t="t" r="r" b="b"/>
              <a:pathLst>
                <a:path w="331787" h="400050">
                  <a:moveTo>
                    <a:pt x="130175" y="0"/>
                  </a:moveTo>
                  <a:lnTo>
                    <a:pt x="331787" y="0"/>
                  </a:lnTo>
                  <a:lnTo>
                    <a:pt x="203200" y="223838"/>
                  </a:lnTo>
                  <a:lnTo>
                    <a:pt x="203200" y="223838"/>
                  </a:lnTo>
                  <a:lnTo>
                    <a:pt x="203199" y="223838"/>
                  </a:lnTo>
                  <a:lnTo>
                    <a:pt x="101600" y="400050"/>
                  </a:lnTo>
                  <a:lnTo>
                    <a:pt x="1" y="223838"/>
                  </a:lnTo>
                  <a:lnTo>
                    <a:pt x="0" y="223838"/>
                  </a:lnTo>
                  <a:lnTo>
                    <a:pt x="0" y="223838"/>
                  </a:lnTo>
                  <a:lnTo>
                    <a:pt x="0" y="223837"/>
                  </a:lnTo>
                  <a:lnTo>
                    <a:pt x="1" y="223837"/>
                  </a:lnTo>
                  <a:lnTo>
                    <a:pt x="101600" y="476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49" name="Freeform 24"/>
            <p:cNvSpPr>
              <a:spLocks noEditPoints="1"/>
            </p:cNvSpPr>
            <p:nvPr userDrawn="1"/>
          </p:nvSpPr>
          <p:spPr bwMode="auto">
            <a:xfrm>
              <a:off x="2378075" y="6102350"/>
              <a:ext cx="50800" cy="52388"/>
            </a:xfrm>
            <a:custGeom>
              <a:avLst/>
              <a:gdLst>
                <a:gd name="T0" fmla="*/ 44 w 44"/>
                <a:gd name="T1" fmla="*/ 22 h 44"/>
                <a:gd name="T2" fmla="*/ 22 w 44"/>
                <a:gd name="T3" fmla="*/ 44 h 44"/>
                <a:gd name="T4" fmla="*/ 0 w 44"/>
                <a:gd name="T5" fmla="*/ 22 h 44"/>
                <a:gd name="T6" fmla="*/ 22 w 44"/>
                <a:gd name="T7" fmla="*/ 0 h 44"/>
                <a:gd name="T8" fmla="*/ 44 w 44"/>
                <a:gd name="T9" fmla="*/ 22 h 44"/>
                <a:gd name="T10" fmla="*/ 40 w 44"/>
                <a:gd name="T11" fmla="*/ 22 h 44"/>
                <a:gd name="T12" fmla="*/ 22 w 44"/>
                <a:gd name="T13" fmla="*/ 4 h 44"/>
                <a:gd name="T14" fmla="*/ 4 w 44"/>
                <a:gd name="T15" fmla="*/ 22 h 44"/>
                <a:gd name="T16" fmla="*/ 22 w 44"/>
                <a:gd name="T17" fmla="*/ 40 h 44"/>
                <a:gd name="T18" fmla="*/ 40 w 44"/>
                <a:gd name="T19" fmla="*/ 22 h 44"/>
                <a:gd name="T20" fmla="*/ 23 w 44"/>
                <a:gd name="T21" fmla="*/ 11 h 44"/>
                <a:gd name="T22" fmla="*/ 32 w 44"/>
                <a:gd name="T23" fmla="*/ 17 h 44"/>
                <a:gd name="T24" fmla="*/ 25 w 44"/>
                <a:gd name="T25" fmla="*/ 24 h 44"/>
                <a:gd name="T26" fmla="*/ 32 w 44"/>
                <a:gd name="T27" fmla="*/ 32 h 44"/>
                <a:gd name="T28" fmla="*/ 27 w 44"/>
                <a:gd name="T29" fmla="*/ 32 h 44"/>
                <a:gd name="T30" fmla="*/ 21 w 44"/>
                <a:gd name="T31" fmla="*/ 24 h 44"/>
                <a:gd name="T32" fmla="*/ 18 w 44"/>
                <a:gd name="T33" fmla="*/ 24 h 44"/>
                <a:gd name="T34" fmla="*/ 18 w 44"/>
                <a:gd name="T35" fmla="*/ 32 h 44"/>
                <a:gd name="T36" fmla="*/ 14 w 44"/>
                <a:gd name="T37" fmla="*/ 32 h 44"/>
                <a:gd name="T38" fmla="*/ 14 w 44"/>
                <a:gd name="T39" fmla="*/ 11 h 44"/>
                <a:gd name="T40" fmla="*/ 23 w 44"/>
                <a:gd name="T41" fmla="*/ 11 h 44"/>
                <a:gd name="T42" fmla="*/ 18 w 44"/>
                <a:gd name="T43" fmla="*/ 14 h 44"/>
                <a:gd name="T44" fmla="*/ 18 w 44"/>
                <a:gd name="T45" fmla="*/ 21 h 44"/>
                <a:gd name="T46" fmla="*/ 23 w 44"/>
                <a:gd name="T47" fmla="*/ 21 h 44"/>
                <a:gd name="T48" fmla="*/ 28 w 44"/>
                <a:gd name="T49" fmla="*/ 17 h 44"/>
                <a:gd name="T50" fmla="*/ 23 w 44"/>
                <a:gd name="T51" fmla="*/ 14 h 44"/>
                <a:gd name="T52" fmla="*/ 18 w 44"/>
                <a:gd name="T53"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44" y="22"/>
                  </a:moveTo>
                  <a:cubicBezTo>
                    <a:pt x="44" y="34"/>
                    <a:pt x="34" y="44"/>
                    <a:pt x="22" y="44"/>
                  </a:cubicBezTo>
                  <a:cubicBezTo>
                    <a:pt x="10" y="44"/>
                    <a:pt x="0" y="34"/>
                    <a:pt x="0" y="22"/>
                  </a:cubicBezTo>
                  <a:cubicBezTo>
                    <a:pt x="0" y="9"/>
                    <a:pt x="10" y="0"/>
                    <a:pt x="22" y="0"/>
                  </a:cubicBezTo>
                  <a:cubicBezTo>
                    <a:pt x="34" y="0"/>
                    <a:pt x="44" y="9"/>
                    <a:pt x="44" y="22"/>
                  </a:cubicBezTo>
                  <a:close/>
                  <a:moveTo>
                    <a:pt x="40" y="22"/>
                  </a:moveTo>
                  <a:cubicBezTo>
                    <a:pt x="40" y="12"/>
                    <a:pt x="32" y="4"/>
                    <a:pt x="22" y="4"/>
                  </a:cubicBezTo>
                  <a:cubicBezTo>
                    <a:pt x="12" y="4"/>
                    <a:pt x="4" y="12"/>
                    <a:pt x="4" y="22"/>
                  </a:cubicBezTo>
                  <a:cubicBezTo>
                    <a:pt x="4" y="32"/>
                    <a:pt x="12" y="40"/>
                    <a:pt x="22" y="40"/>
                  </a:cubicBezTo>
                  <a:cubicBezTo>
                    <a:pt x="32" y="40"/>
                    <a:pt x="40" y="32"/>
                    <a:pt x="40" y="22"/>
                  </a:cubicBezTo>
                  <a:close/>
                  <a:moveTo>
                    <a:pt x="23" y="11"/>
                  </a:moveTo>
                  <a:cubicBezTo>
                    <a:pt x="29" y="11"/>
                    <a:pt x="32" y="13"/>
                    <a:pt x="32" y="17"/>
                  </a:cubicBezTo>
                  <a:cubicBezTo>
                    <a:pt x="32" y="21"/>
                    <a:pt x="29" y="23"/>
                    <a:pt x="25" y="24"/>
                  </a:cubicBezTo>
                  <a:cubicBezTo>
                    <a:pt x="32" y="32"/>
                    <a:pt x="32" y="32"/>
                    <a:pt x="32" y="32"/>
                  </a:cubicBezTo>
                  <a:cubicBezTo>
                    <a:pt x="27" y="32"/>
                    <a:pt x="27" y="32"/>
                    <a:pt x="27" y="32"/>
                  </a:cubicBezTo>
                  <a:cubicBezTo>
                    <a:pt x="21" y="24"/>
                    <a:pt x="21" y="24"/>
                    <a:pt x="21" y="24"/>
                  </a:cubicBezTo>
                  <a:cubicBezTo>
                    <a:pt x="18" y="24"/>
                    <a:pt x="18" y="24"/>
                    <a:pt x="18" y="24"/>
                  </a:cubicBezTo>
                  <a:cubicBezTo>
                    <a:pt x="18" y="32"/>
                    <a:pt x="18" y="32"/>
                    <a:pt x="18" y="32"/>
                  </a:cubicBezTo>
                  <a:cubicBezTo>
                    <a:pt x="14" y="32"/>
                    <a:pt x="14" y="32"/>
                    <a:pt x="14" y="32"/>
                  </a:cubicBezTo>
                  <a:cubicBezTo>
                    <a:pt x="14" y="11"/>
                    <a:pt x="14" y="11"/>
                    <a:pt x="14" y="11"/>
                  </a:cubicBezTo>
                  <a:lnTo>
                    <a:pt x="23" y="11"/>
                  </a:lnTo>
                  <a:close/>
                  <a:moveTo>
                    <a:pt x="18" y="14"/>
                  </a:moveTo>
                  <a:cubicBezTo>
                    <a:pt x="18" y="21"/>
                    <a:pt x="18" y="21"/>
                    <a:pt x="18" y="21"/>
                  </a:cubicBezTo>
                  <a:cubicBezTo>
                    <a:pt x="23" y="21"/>
                    <a:pt x="23" y="21"/>
                    <a:pt x="23" y="21"/>
                  </a:cubicBezTo>
                  <a:cubicBezTo>
                    <a:pt x="26" y="21"/>
                    <a:pt x="28" y="20"/>
                    <a:pt x="28" y="17"/>
                  </a:cubicBezTo>
                  <a:cubicBezTo>
                    <a:pt x="28" y="15"/>
                    <a:pt x="26" y="14"/>
                    <a:pt x="23" y="14"/>
                  </a:cubicBezTo>
                  <a:lnTo>
                    <a:pt x="18" y="14"/>
                  </a:lnTo>
                  <a:close/>
                </a:path>
              </a:pathLst>
            </a:custGeom>
            <a:solidFill>
              <a:srgbClr val="384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sp>
          <p:nvSpPr>
            <p:cNvPr id="50" name="Freeform 21"/>
            <p:cNvSpPr>
              <a:spLocks/>
            </p:cNvSpPr>
            <p:nvPr userDrawn="1"/>
          </p:nvSpPr>
          <p:spPr bwMode="auto">
            <a:xfrm>
              <a:off x="504825" y="6078538"/>
              <a:ext cx="203200" cy="176213"/>
            </a:xfrm>
            <a:custGeom>
              <a:avLst/>
              <a:gdLst>
                <a:gd name="T0" fmla="*/ 0 w 128"/>
                <a:gd name="T1" fmla="*/ 111 h 111"/>
                <a:gd name="T2" fmla="*/ 128 w 128"/>
                <a:gd name="T3" fmla="*/ 111 h 111"/>
                <a:gd name="T4" fmla="*/ 64 w 128"/>
                <a:gd name="T5" fmla="*/ 0 h 111"/>
                <a:gd name="T6" fmla="*/ 0 w 128"/>
                <a:gd name="T7" fmla="*/ 111 h 111"/>
              </a:gdLst>
              <a:ahLst/>
              <a:cxnLst>
                <a:cxn ang="0">
                  <a:pos x="T0" y="T1"/>
                </a:cxn>
                <a:cxn ang="0">
                  <a:pos x="T2" y="T3"/>
                </a:cxn>
                <a:cxn ang="0">
                  <a:pos x="T4" y="T5"/>
                </a:cxn>
                <a:cxn ang="0">
                  <a:pos x="T6" y="T7"/>
                </a:cxn>
              </a:cxnLst>
              <a:rect l="0" t="0" r="r" b="b"/>
              <a:pathLst>
                <a:path w="128" h="111">
                  <a:moveTo>
                    <a:pt x="0" y="111"/>
                  </a:moveTo>
                  <a:lnTo>
                    <a:pt x="128" y="111"/>
                  </a:lnTo>
                  <a:lnTo>
                    <a:pt x="64" y="0"/>
                  </a:lnTo>
                  <a:lnTo>
                    <a:pt x="0"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38454F"/>
                </a:solidFill>
              </a:endParaRPr>
            </a:p>
          </p:txBody>
        </p:sp>
      </p:grpSp>
    </p:spTree>
    <p:extLst>
      <p:ext uri="{BB962C8B-B14F-4D97-AF65-F5344CB8AC3E}">
        <p14:creationId xmlns:p14="http://schemas.microsoft.com/office/powerpoint/2010/main" val="3797765213"/>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ct val="80000"/>
        </a:lnSpc>
        <a:spcBef>
          <a:spcPct val="0"/>
        </a:spcBef>
        <a:spcAft>
          <a:spcPct val="0"/>
        </a:spcAft>
        <a:defRPr sz="2800" b="0" kern="1200">
          <a:solidFill>
            <a:schemeClr val="tx1"/>
          </a:solidFill>
          <a:latin typeface="+mj-lt"/>
          <a:ea typeface="+mj-ea"/>
          <a:cs typeface="+mj-cs"/>
        </a:defRPr>
      </a:lvl1pPr>
      <a:lvl2pPr algn="l" rtl="0" eaLnBrk="1" fontAlgn="base" hangingPunct="1">
        <a:lnSpc>
          <a:spcPct val="80000"/>
        </a:lnSpc>
        <a:spcBef>
          <a:spcPct val="0"/>
        </a:spcBef>
        <a:spcAft>
          <a:spcPct val="0"/>
        </a:spcAft>
        <a:defRPr sz="3600" b="1">
          <a:solidFill>
            <a:schemeClr val="tx2"/>
          </a:solidFill>
          <a:latin typeface="Oslo" pitchFamily="34" charset="0"/>
        </a:defRPr>
      </a:lvl2pPr>
      <a:lvl3pPr algn="l" rtl="0" eaLnBrk="1" fontAlgn="base" hangingPunct="1">
        <a:lnSpc>
          <a:spcPct val="80000"/>
        </a:lnSpc>
        <a:spcBef>
          <a:spcPct val="0"/>
        </a:spcBef>
        <a:spcAft>
          <a:spcPct val="0"/>
        </a:spcAft>
        <a:defRPr sz="3600" b="1">
          <a:solidFill>
            <a:schemeClr val="tx2"/>
          </a:solidFill>
          <a:latin typeface="Oslo" pitchFamily="34" charset="0"/>
        </a:defRPr>
      </a:lvl3pPr>
      <a:lvl4pPr algn="l" rtl="0" eaLnBrk="1" fontAlgn="base" hangingPunct="1">
        <a:lnSpc>
          <a:spcPct val="80000"/>
        </a:lnSpc>
        <a:spcBef>
          <a:spcPct val="0"/>
        </a:spcBef>
        <a:spcAft>
          <a:spcPct val="0"/>
        </a:spcAft>
        <a:defRPr sz="3600" b="1">
          <a:solidFill>
            <a:schemeClr val="tx2"/>
          </a:solidFill>
          <a:latin typeface="Oslo" pitchFamily="34" charset="0"/>
        </a:defRPr>
      </a:lvl4pPr>
      <a:lvl5pPr algn="l" rtl="0" eaLnBrk="1" fontAlgn="base" hangingPunct="1">
        <a:lnSpc>
          <a:spcPct val="80000"/>
        </a:lnSpc>
        <a:spcBef>
          <a:spcPct val="0"/>
        </a:spcBef>
        <a:spcAft>
          <a:spcPct val="0"/>
        </a:spcAft>
        <a:defRPr sz="3600" b="1">
          <a:solidFill>
            <a:schemeClr val="tx2"/>
          </a:solidFill>
          <a:latin typeface="Oslo" pitchFamily="34" charset="0"/>
        </a:defRPr>
      </a:lvl5pPr>
      <a:lvl6pPr marL="457200" algn="l" rtl="0" eaLnBrk="1" fontAlgn="base" hangingPunct="1">
        <a:lnSpc>
          <a:spcPct val="80000"/>
        </a:lnSpc>
        <a:spcBef>
          <a:spcPct val="0"/>
        </a:spcBef>
        <a:spcAft>
          <a:spcPct val="0"/>
        </a:spcAft>
        <a:defRPr sz="3600" b="1">
          <a:solidFill>
            <a:schemeClr val="tx2"/>
          </a:solidFill>
          <a:latin typeface="Oslo" pitchFamily="34" charset="0"/>
        </a:defRPr>
      </a:lvl6pPr>
      <a:lvl7pPr marL="914400" algn="l" rtl="0" eaLnBrk="1" fontAlgn="base" hangingPunct="1">
        <a:lnSpc>
          <a:spcPct val="80000"/>
        </a:lnSpc>
        <a:spcBef>
          <a:spcPct val="0"/>
        </a:spcBef>
        <a:spcAft>
          <a:spcPct val="0"/>
        </a:spcAft>
        <a:defRPr sz="3600" b="1">
          <a:solidFill>
            <a:schemeClr val="tx2"/>
          </a:solidFill>
          <a:latin typeface="Oslo" pitchFamily="34" charset="0"/>
        </a:defRPr>
      </a:lvl7pPr>
      <a:lvl8pPr marL="1371600" algn="l" rtl="0" eaLnBrk="1" fontAlgn="base" hangingPunct="1">
        <a:lnSpc>
          <a:spcPct val="80000"/>
        </a:lnSpc>
        <a:spcBef>
          <a:spcPct val="0"/>
        </a:spcBef>
        <a:spcAft>
          <a:spcPct val="0"/>
        </a:spcAft>
        <a:defRPr sz="3600" b="1">
          <a:solidFill>
            <a:schemeClr val="tx2"/>
          </a:solidFill>
          <a:latin typeface="Oslo" pitchFamily="34" charset="0"/>
        </a:defRPr>
      </a:lvl8pPr>
      <a:lvl9pPr marL="1828800" algn="l" rtl="0" eaLnBrk="1" fontAlgn="base" hangingPunct="1">
        <a:lnSpc>
          <a:spcPct val="80000"/>
        </a:lnSpc>
        <a:spcBef>
          <a:spcPct val="0"/>
        </a:spcBef>
        <a:spcAft>
          <a:spcPct val="0"/>
        </a:spcAft>
        <a:defRPr sz="3600" b="1">
          <a:solidFill>
            <a:schemeClr val="tx2"/>
          </a:solidFill>
          <a:latin typeface="Oslo" pitchFamily="34" charset="0"/>
        </a:defRPr>
      </a:lvl9pPr>
    </p:titleStyle>
    <p:bodyStyle>
      <a:lvl1pPr marL="171450" indent="-171450" algn="l" rtl="0" eaLnBrk="1" fontAlgn="base" hangingPunct="1">
        <a:spcBef>
          <a:spcPts val="1200"/>
        </a:spcBef>
        <a:spcAft>
          <a:spcPct val="0"/>
        </a:spcAft>
        <a:buClr>
          <a:schemeClr val="accent1"/>
        </a:buClr>
        <a:buSzPct val="100000"/>
        <a:buFont typeface="Arial" panose="020B0604020202020204" pitchFamily="34" charset="0"/>
        <a:buChar char="•"/>
        <a:defRPr sz="1800" b="0" kern="1200">
          <a:solidFill>
            <a:schemeClr val="accent1"/>
          </a:solidFill>
          <a:latin typeface="+mn-lt"/>
          <a:ea typeface="+mn-ea"/>
          <a:cs typeface="+mn-cs"/>
        </a:defRPr>
      </a:lvl1pPr>
      <a:lvl2pPr marL="461963" indent="-234950" algn="l" rtl="0" eaLnBrk="1" fontAlgn="base" hangingPunct="1">
        <a:spcBef>
          <a:spcPts val="0"/>
        </a:spcBef>
        <a:spcAft>
          <a:spcPts val="400"/>
        </a:spcAft>
        <a:buClr>
          <a:schemeClr val="accent1"/>
        </a:buClr>
        <a:buSzPct val="100000"/>
        <a:buFont typeface="Arial" panose="020B0604020202020204" pitchFamily="34" charset="0"/>
        <a:buChar char="–"/>
        <a:defRPr sz="1600" kern="1200">
          <a:solidFill>
            <a:schemeClr val="tx1"/>
          </a:solidFill>
          <a:latin typeface="+mn-lt"/>
          <a:ea typeface="+mn-ea"/>
          <a:cs typeface="+mn-cs"/>
        </a:defRPr>
      </a:lvl2pPr>
      <a:lvl3pPr marL="687388" indent="-225425" algn="l" rtl="0" eaLnBrk="1" fontAlgn="base" hangingPunct="1">
        <a:spcBef>
          <a:spcPts val="0"/>
        </a:spcBef>
        <a:spcAft>
          <a:spcPts val="200"/>
        </a:spcAft>
        <a:buClr>
          <a:schemeClr val="accent1"/>
        </a:buClr>
        <a:buSzPct val="100000"/>
        <a:buFont typeface="Arial" panose="020B0604020202020204" pitchFamily="34" charset="0"/>
        <a:buChar char="»"/>
        <a:defRPr sz="1600" kern="1200">
          <a:solidFill>
            <a:schemeClr val="tx1"/>
          </a:solidFill>
          <a:latin typeface="+mn-lt"/>
          <a:ea typeface="+mn-ea"/>
          <a:cs typeface="+mn-cs"/>
        </a:defRPr>
      </a:lvl3pPr>
      <a:lvl4pPr marL="914400" indent="-227013" algn="l" rtl="0" eaLnBrk="1" fontAlgn="base" hangingPunct="1">
        <a:spcBef>
          <a:spcPts val="0"/>
        </a:spcBef>
        <a:spcAft>
          <a:spcPts val="300"/>
        </a:spcAft>
        <a:buClr>
          <a:schemeClr val="accent1"/>
        </a:buClr>
        <a:buSzPct val="100000"/>
        <a:buFont typeface="Arial" panose="020B0604020202020204" pitchFamily="34" charset="0"/>
        <a:buChar char="•"/>
        <a:defRPr sz="1400" kern="1200">
          <a:solidFill>
            <a:schemeClr val="tx1"/>
          </a:solidFill>
          <a:latin typeface="+mn-lt"/>
          <a:ea typeface="+mn-ea"/>
          <a:cs typeface="+mn-cs"/>
        </a:defRPr>
      </a:lvl4pPr>
      <a:lvl5pPr marL="1141413" indent="-227013" algn="l" rtl="0" eaLnBrk="1" fontAlgn="base" hangingPunct="1">
        <a:spcBef>
          <a:spcPts val="0"/>
        </a:spcBef>
        <a:spcAft>
          <a:spcPts val="300"/>
        </a:spcAft>
        <a:buClr>
          <a:schemeClr val="accent1"/>
        </a:buClr>
        <a:buSzPct val="100000"/>
        <a:buFont typeface="Arial" panose="020B0604020202020204" pitchFamily="34" charset="0"/>
        <a:buChar char="–"/>
        <a:defRPr sz="1400" kern="1200">
          <a:solidFill>
            <a:schemeClr val="tx1"/>
          </a:solidFill>
          <a:latin typeface="+mn-lt"/>
          <a:ea typeface="+mn-ea"/>
          <a:cs typeface="+mn-cs"/>
        </a:defRPr>
      </a:lvl5pPr>
      <a:lvl6pPr marL="1168400" indent="-177800" algn="l" defTabSz="914400" rtl="0" eaLnBrk="1" latinLnBrk="0" hangingPunct="1">
        <a:spcBef>
          <a:spcPct val="20000"/>
        </a:spcBef>
        <a:buClr>
          <a:schemeClr val="accent2"/>
        </a:buClr>
        <a:buSzPct val="100000"/>
        <a:buFont typeface="Oslo" pitchFamily="34" charset="0"/>
        <a:buChar char="–"/>
        <a:defRPr sz="1400" kern="1200" baseline="0">
          <a:solidFill>
            <a:schemeClr val="tx1"/>
          </a:solidFill>
          <a:latin typeface="+mn-lt"/>
          <a:ea typeface="+mn-ea"/>
          <a:cs typeface="+mn-cs"/>
        </a:defRPr>
      </a:lvl6pPr>
      <a:lvl7pPr marL="1312863" indent="-144463" algn="l" defTabSz="914400" rtl="0" eaLnBrk="1" latinLnBrk="0" hangingPunct="1">
        <a:spcBef>
          <a:spcPct val="20000"/>
        </a:spcBef>
        <a:buClr>
          <a:schemeClr val="accent2"/>
        </a:buClr>
        <a:buSzPct val="100000"/>
        <a:buFont typeface="Arial" pitchFamily="34" charset="0"/>
        <a:buChar char="•"/>
        <a:defRPr sz="1400" kern="1200" baseline="0">
          <a:solidFill>
            <a:schemeClr val="tx1"/>
          </a:solidFill>
          <a:latin typeface="+mn-lt"/>
          <a:ea typeface="+mn-ea"/>
          <a:cs typeface="+mn-cs"/>
        </a:defRPr>
      </a:lvl7pPr>
      <a:lvl8pPr marL="1481138" indent="-160338" algn="l" defTabSz="914400" rtl="0" eaLnBrk="1" latinLnBrk="0" hangingPunct="1">
        <a:spcBef>
          <a:spcPct val="20000"/>
        </a:spcBef>
        <a:buClr>
          <a:schemeClr val="accent2"/>
        </a:buClr>
        <a:buSzPct val="100000"/>
        <a:buFont typeface="Oslo" pitchFamily="34" charset="0"/>
        <a:buChar char="–"/>
        <a:defRPr sz="1400" kern="1200" baseline="0">
          <a:solidFill>
            <a:schemeClr val="tx1"/>
          </a:solidFill>
          <a:latin typeface="+mn-lt"/>
          <a:ea typeface="+mn-ea"/>
          <a:cs typeface="+mn-cs"/>
        </a:defRPr>
      </a:lvl8pPr>
      <a:lvl9pPr marL="1490663" indent="0" algn="l" defTabSz="914400" rtl="0" eaLnBrk="1" latinLnBrk="0" hangingPunct="1">
        <a:spcBef>
          <a:spcPct val="20000"/>
        </a:spcBef>
        <a:buClr>
          <a:schemeClr val="accent2"/>
        </a:buClr>
        <a:buSzPct val="100000"/>
        <a:buFont typeface="Arial" pitchFamily="34" charset="0"/>
        <a:buNone/>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CCA78F-4B76-4048-9E6D-74B448B60127}"/>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134775B-B9E1-4137-96BA-588CF2AC6C27}"/>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1C6C06-0C49-413E-B4FC-642CE67004B8}"/>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endParaRPr lang="en-US" noProof="0" dirty="0"/>
          </a:p>
        </p:txBody>
      </p:sp>
      <p:sp>
        <p:nvSpPr>
          <p:cNvPr id="5" name="Footer Placeholder 4">
            <a:extLst>
              <a:ext uri="{FF2B5EF4-FFF2-40B4-BE49-F238E27FC236}">
                <a16:creationId xmlns:a16="http://schemas.microsoft.com/office/drawing/2014/main" id="{D12E2FAB-DE1C-43E2-B35A-0664AABF4FDC}"/>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304D4D7-8691-4A9B-BA51-BFB8ED63415E}"/>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a:defRPr/>
            </a:pPr>
            <a:fld id="{91D03FF3-2B9E-4617-A592-48F56EC63E6E}" type="slidenum">
              <a:rPr lang="en-US" noProof="0" smtClean="0"/>
              <a:pPr>
                <a:defRPr/>
              </a:pPr>
              <a:t>‹#›</a:t>
            </a:fld>
            <a:endParaRPr lang="en-US" noProof="0" dirty="0"/>
          </a:p>
        </p:txBody>
      </p:sp>
    </p:spTree>
    <p:extLst>
      <p:ext uri="{BB962C8B-B14F-4D97-AF65-F5344CB8AC3E}">
        <p14:creationId xmlns:p14="http://schemas.microsoft.com/office/powerpoint/2010/main" val="1171324262"/>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microsoft.com/office/2007/relationships/hdphoto" Target="../media/hdphoto1.wdp"/><Relationship Id="rId7" Type="http://schemas.openxmlformats.org/officeDocument/2006/relationships/image" Target="../media/image5.svg"/><Relationship Id="rId12" Type="http://schemas.openxmlformats.org/officeDocument/2006/relationships/image" Target="../media/image10.svg"/><Relationship Id="rId2" Type="http://schemas.openxmlformats.org/officeDocument/2006/relationships/image" Target="../media/image1.png"/><Relationship Id="rId1" Type="http://schemas.openxmlformats.org/officeDocument/2006/relationships/slideLayout" Target="../slideLayouts/slideLayout162.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svg"/><Relationship Id="rId10" Type="http://schemas.openxmlformats.org/officeDocument/2006/relationships/image" Target="../media/image8.png"/><Relationship Id="rId4" Type="http://schemas.openxmlformats.org/officeDocument/2006/relationships/image" Target="../media/image2.png"/><Relationship Id="rId9" Type="http://schemas.openxmlformats.org/officeDocument/2006/relationships/image" Target="../media/image7.svg"/></Relationships>
</file>

<file path=ppt/slides/_rels/slide10.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1.png"/><Relationship Id="rId7"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62.xml"/><Relationship Id="rId6" Type="http://schemas.microsoft.com/office/2007/relationships/hdphoto" Target="../media/hdphoto5.wdp"/><Relationship Id="rId5" Type="http://schemas.openxmlformats.org/officeDocument/2006/relationships/image" Target="../media/image39.png"/><Relationship Id="rId10" Type="http://schemas.openxmlformats.org/officeDocument/2006/relationships/image" Target="../media/image41.svg"/><Relationship Id="rId4" Type="http://schemas.microsoft.com/office/2007/relationships/hdphoto" Target="../media/hdphoto1.wdp"/><Relationship Id="rId9" Type="http://schemas.openxmlformats.org/officeDocument/2006/relationships/image" Target="../media/image40.png"/></Relationships>
</file>

<file path=ppt/slides/_rels/slide1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1.png"/><Relationship Id="rId7" Type="http://schemas.openxmlformats.org/officeDocument/2006/relationships/image" Target="../media/image18.svg"/><Relationship Id="rId2" Type="http://schemas.openxmlformats.org/officeDocument/2006/relationships/notesSlide" Target="../notesSlides/notesSlide10.xml"/><Relationship Id="rId1" Type="http://schemas.openxmlformats.org/officeDocument/2006/relationships/slideLayout" Target="../slideLayouts/slideLayout162.xml"/><Relationship Id="rId6" Type="http://schemas.openxmlformats.org/officeDocument/2006/relationships/image" Target="../media/image17.png"/><Relationship Id="rId5" Type="http://schemas.openxmlformats.org/officeDocument/2006/relationships/image" Target="../media/image42.png"/><Relationship Id="rId4" Type="http://schemas.microsoft.com/office/2007/relationships/hdphoto" Target="../media/hdphoto1.wdp"/><Relationship Id="rId9" Type="http://schemas.openxmlformats.org/officeDocument/2006/relationships/image" Target="../media/image44.svg"/></Relationships>
</file>

<file path=ppt/slides/_rels/slide12.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1.png"/><Relationship Id="rId7" Type="http://schemas.openxmlformats.org/officeDocument/2006/relationships/image" Target="../media/image13.svg"/><Relationship Id="rId2" Type="http://schemas.openxmlformats.org/officeDocument/2006/relationships/notesSlide" Target="../notesSlides/notesSlide11.xml"/><Relationship Id="rId1" Type="http://schemas.openxmlformats.org/officeDocument/2006/relationships/slideLayout" Target="../slideLayouts/slideLayout162.xml"/><Relationship Id="rId6" Type="http://schemas.openxmlformats.org/officeDocument/2006/relationships/image" Target="../media/image12.png"/><Relationship Id="rId5" Type="http://schemas.openxmlformats.org/officeDocument/2006/relationships/image" Target="../media/image45.png"/><Relationship Id="rId4" Type="http://schemas.microsoft.com/office/2007/relationships/hdphoto" Target="../media/hdphoto1.wdp"/><Relationship Id="rId9" Type="http://schemas.openxmlformats.org/officeDocument/2006/relationships/image" Target="../media/image47.svg"/></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png"/><Relationship Id="rId7" Type="http://schemas.openxmlformats.org/officeDocument/2006/relationships/image" Target="../media/image13.svg"/><Relationship Id="rId2" Type="http://schemas.openxmlformats.org/officeDocument/2006/relationships/notesSlide" Target="../notesSlides/notesSlide1.xml"/><Relationship Id="rId1" Type="http://schemas.openxmlformats.org/officeDocument/2006/relationships/slideLayout" Target="../slideLayouts/slideLayout162.xml"/><Relationship Id="rId6" Type="http://schemas.openxmlformats.org/officeDocument/2006/relationships/image" Target="../media/image12.png"/><Relationship Id="rId5" Type="http://schemas.openxmlformats.org/officeDocument/2006/relationships/image" Target="../media/image11.png"/><Relationship Id="rId4" Type="http://schemas.microsoft.com/office/2007/relationships/hdphoto" Target="../media/hdphoto1.wdp"/><Relationship Id="rId9" Type="http://schemas.openxmlformats.org/officeDocument/2006/relationships/image" Target="../media/image15.svg"/></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png"/><Relationship Id="rId7" Type="http://schemas.openxmlformats.org/officeDocument/2006/relationships/image" Target="../media/image18.svg"/><Relationship Id="rId2" Type="http://schemas.openxmlformats.org/officeDocument/2006/relationships/notesSlide" Target="../notesSlides/notesSlide2.xml"/><Relationship Id="rId1" Type="http://schemas.openxmlformats.org/officeDocument/2006/relationships/slideLayout" Target="../slideLayouts/slideLayout162.xml"/><Relationship Id="rId6" Type="http://schemas.openxmlformats.org/officeDocument/2006/relationships/image" Target="../media/image17.png"/><Relationship Id="rId5" Type="http://schemas.openxmlformats.org/officeDocument/2006/relationships/image" Target="../media/image16.png"/><Relationship Id="rId4" Type="http://schemas.microsoft.com/office/2007/relationships/hdphoto" Target="../media/hdphoto1.wdp"/><Relationship Id="rId9" Type="http://schemas.openxmlformats.org/officeDocument/2006/relationships/image" Target="../media/image20.svg"/></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png"/><Relationship Id="rId7" Type="http://schemas.openxmlformats.org/officeDocument/2006/relationships/image" Target="../media/image13.svg"/><Relationship Id="rId2" Type="http://schemas.openxmlformats.org/officeDocument/2006/relationships/notesSlide" Target="../notesSlides/notesSlide3.xml"/><Relationship Id="rId1" Type="http://schemas.openxmlformats.org/officeDocument/2006/relationships/slideLayout" Target="../slideLayouts/slideLayout162.xml"/><Relationship Id="rId6" Type="http://schemas.openxmlformats.org/officeDocument/2006/relationships/image" Target="../media/image12.png"/><Relationship Id="rId5" Type="http://schemas.openxmlformats.org/officeDocument/2006/relationships/image" Target="../media/image21.png"/><Relationship Id="rId4" Type="http://schemas.microsoft.com/office/2007/relationships/hdphoto" Target="../media/hdphoto1.wdp"/><Relationship Id="rId9" Type="http://schemas.openxmlformats.org/officeDocument/2006/relationships/image" Target="../media/image23.sv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1.png"/><Relationship Id="rId7" Type="http://schemas.openxmlformats.org/officeDocument/2006/relationships/image" Target="../media/image18.svg"/><Relationship Id="rId2" Type="http://schemas.openxmlformats.org/officeDocument/2006/relationships/notesSlide" Target="../notesSlides/notesSlide4.xml"/><Relationship Id="rId1" Type="http://schemas.openxmlformats.org/officeDocument/2006/relationships/slideLayout" Target="../slideLayouts/slideLayout162.xml"/><Relationship Id="rId6" Type="http://schemas.openxmlformats.org/officeDocument/2006/relationships/image" Target="../media/image17.png"/><Relationship Id="rId5" Type="http://schemas.openxmlformats.org/officeDocument/2006/relationships/image" Target="../media/image24.png"/><Relationship Id="rId4" Type="http://schemas.microsoft.com/office/2007/relationships/hdphoto" Target="../media/hdphoto1.wdp"/><Relationship Id="rId9" Type="http://schemas.openxmlformats.org/officeDocument/2006/relationships/image" Target="../media/image26.svg"/></Relationships>
</file>

<file path=ppt/slides/_rels/slide6.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1.png"/><Relationship Id="rId7"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62.xml"/><Relationship Id="rId6" Type="http://schemas.microsoft.com/office/2007/relationships/hdphoto" Target="../media/hdphoto2.wdp"/><Relationship Id="rId5" Type="http://schemas.openxmlformats.org/officeDocument/2006/relationships/image" Target="../media/image27.png"/><Relationship Id="rId10" Type="http://schemas.openxmlformats.org/officeDocument/2006/relationships/image" Target="../media/image29.svg"/><Relationship Id="rId4" Type="http://schemas.microsoft.com/office/2007/relationships/hdphoto" Target="../media/hdphoto1.wdp"/><Relationship Id="rId9" Type="http://schemas.openxmlformats.org/officeDocument/2006/relationships/image" Target="../media/image28.png"/></Relationships>
</file>

<file path=ppt/slides/_rels/slide7.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62.xml"/><Relationship Id="rId6" Type="http://schemas.microsoft.com/office/2007/relationships/hdphoto" Target="../media/hdphoto3.wdp"/><Relationship Id="rId5" Type="http://schemas.openxmlformats.org/officeDocument/2006/relationships/image" Target="../media/image30.png"/><Relationship Id="rId10" Type="http://schemas.openxmlformats.org/officeDocument/2006/relationships/image" Target="../media/image32.svg"/><Relationship Id="rId4" Type="http://schemas.microsoft.com/office/2007/relationships/hdphoto" Target="../media/hdphoto1.wdp"/><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1.png"/><Relationship Id="rId7"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62.xml"/><Relationship Id="rId6" Type="http://schemas.microsoft.com/office/2007/relationships/hdphoto" Target="../media/hdphoto4.wdp"/><Relationship Id="rId5" Type="http://schemas.openxmlformats.org/officeDocument/2006/relationships/image" Target="../media/image33.png"/><Relationship Id="rId10" Type="http://schemas.openxmlformats.org/officeDocument/2006/relationships/image" Target="../media/image35.svg"/><Relationship Id="rId4" Type="http://schemas.microsoft.com/office/2007/relationships/hdphoto" Target="../media/hdphoto1.wdp"/><Relationship Id="rId9" Type="http://schemas.openxmlformats.org/officeDocument/2006/relationships/image" Target="../media/image34.png"/></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png"/><Relationship Id="rId7" Type="http://schemas.openxmlformats.org/officeDocument/2006/relationships/image" Target="../media/image18.svg"/><Relationship Id="rId2" Type="http://schemas.openxmlformats.org/officeDocument/2006/relationships/notesSlide" Target="../notesSlides/notesSlide8.xml"/><Relationship Id="rId1" Type="http://schemas.openxmlformats.org/officeDocument/2006/relationships/slideLayout" Target="../slideLayouts/slideLayout162.xml"/><Relationship Id="rId6" Type="http://schemas.openxmlformats.org/officeDocument/2006/relationships/image" Target="../media/image17.png"/><Relationship Id="rId5" Type="http://schemas.openxmlformats.org/officeDocument/2006/relationships/image" Target="../media/image36.png"/><Relationship Id="rId4" Type="http://schemas.microsoft.com/office/2007/relationships/hdphoto" Target="../media/hdphoto1.wdp"/><Relationship Id="rId9" Type="http://schemas.openxmlformats.org/officeDocument/2006/relationships/image" Target="../media/image3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a street&#10;&#10;Description generated with high confidence">
            <a:extLst>
              <a:ext uri="{FF2B5EF4-FFF2-40B4-BE49-F238E27FC236}">
                <a16:creationId xmlns:a16="http://schemas.microsoft.com/office/drawing/2014/main" id="{187EB296-CE41-4677-ACA2-21B97752B641}"/>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314" y="15948"/>
            <a:ext cx="9144000" cy="6842051"/>
          </a:xfrm>
          <a:prstGeom prst="rect">
            <a:avLst/>
          </a:prstGeom>
        </p:spPr>
      </p:pic>
      <p:sp>
        <p:nvSpPr>
          <p:cNvPr id="5" name="Rectangle 4">
            <a:extLst>
              <a:ext uri="{FF2B5EF4-FFF2-40B4-BE49-F238E27FC236}">
                <a16:creationId xmlns:a16="http://schemas.microsoft.com/office/drawing/2014/main" id="{137DBFDC-DC43-4DBB-AFCA-6BAE8BF82C87}"/>
              </a:ext>
            </a:extLst>
          </p:cNvPr>
          <p:cNvSpPr/>
          <p:nvPr/>
        </p:nvSpPr>
        <p:spPr bwMode="auto">
          <a:xfrm>
            <a:off x="0" y="0"/>
            <a:ext cx="9141372" cy="6858000"/>
          </a:xfrm>
          <a:prstGeom prst="rect">
            <a:avLst/>
          </a:prstGeom>
          <a:noFill/>
          <a:ln w="127000" cap="flat">
            <a:solidFill>
              <a:schemeClr val="tx1"/>
            </a:solid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de-DE"/>
          </a:p>
        </p:txBody>
      </p:sp>
      <p:grpSp>
        <p:nvGrpSpPr>
          <p:cNvPr id="2" name="Group 1">
            <a:extLst>
              <a:ext uri="{FF2B5EF4-FFF2-40B4-BE49-F238E27FC236}">
                <a16:creationId xmlns:a16="http://schemas.microsoft.com/office/drawing/2014/main" id="{84BDDF11-E320-4995-B591-359675D9E2FA}"/>
              </a:ext>
            </a:extLst>
          </p:cNvPr>
          <p:cNvGrpSpPr/>
          <p:nvPr/>
        </p:nvGrpSpPr>
        <p:grpSpPr>
          <a:xfrm>
            <a:off x="1513001" y="655673"/>
            <a:ext cx="6115370" cy="5562600"/>
            <a:chOff x="1269439" y="759186"/>
            <a:chExt cx="6642579" cy="6042155"/>
          </a:xfrm>
        </p:grpSpPr>
        <p:pic>
          <p:nvPicPr>
            <p:cNvPr id="9" name="Graphic 8">
              <a:extLst>
                <a:ext uri="{FF2B5EF4-FFF2-40B4-BE49-F238E27FC236}">
                  <a16:creationId xmlns:a16="http://schemas.microsoft.com/office/drawing/2014/main" id="{C4147BD4-B2EC-4D5D-87B0-B93526DF23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1148193">
              <a:off x="3382423" y="759186"/>
              <a:ext cx="3490727" cy="681810"/>
            </a:xfrm>
            <a:prstGeom prst="rect">
              <a:avLst/>
            </a:prstGeom>
          </p:spPr>
        </p:pic>
        <p:pic>
          <p:nvPicPr>
            <p:cNvPr id="8" name="Graphic 7">
              <a:extLst>
                <a:ext uri="{FF2B5EF4-FFF2-40B4-BE49-F238E27FC236}">
                  <a16:creationId xmlns:a16="http://schemas.microsoft.com/office/drawing/2014/main" id="{4FAF4F1F-1574-4AA8-B011-2085B4FE6D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135149">
              <a:off x="1269439" y="1361698"/>
              <a:ext cx="5669227" cy="4520720"/>
            </a:xfrm>
            <a:prstGeom prst="rect">
              <a:avLst/>
            </a:prstGeom>
          </p:spPr>
        </p:pic>
        <p:pic>
          <p:nvPicPr>
            <p:cNvPr id="13" name="Graphic 12">
              <a:extLst>
                <a:ext uri="{FF2B5EF4-FFF2-40B4-BE49-F238E27FC236}">
                  <a16:creationId xmlns:a16="http://schemas.microsoft.com/office/drawing/2014/main" id="{059E089F-D63E-4B6F-8FF5-CC9307FD29B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161551">
              <a:off x="7537260" y="1229755"/>
              <a:ext cx="262290" cy="879680"/>
            </a:xfrm>
            <a:prstGeom prst="rect">
              <a:avLst/>
            </a:prstGeom>
          </p:spPr>
        </p:pic>
        <p:pic>
          <p:nvPicPr>
            <p:cNvPr id="14" name="Graphic 13">
              <a:extLst>
                <a:ext uri="{FF2B5EF4-FFF2-40B4-BE49-F238E27FC236}">
                  <a16:creationId xmlns:a16="http://schemas.microsoft.com/office/drawing/2014/main" id="{65062696-4157-4DBE-B022-7F4CE0862C0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882515">
              <a:off x="7264044" y="1914306"/>
              <a:ext cx="262290" cy="879680"/>
            </a:xfrm>
            <a:prstGeom prst="rect">
              <a:avLst/>
            </a:prstGeom>
          </p:spPr>
        </p:pic>
        <p:pic>
          <p:nvPicPr>
            <p:cNvPr id="17" name="Picture 16" descr="A picture containing object&#10;&#10;Description generated with very high confidence">
              <a:extLst>
                <a:ext uri="{FF2B5EF4-FFF2-40B4-BE49-F238E27FC236}">
                  <a16:creationId xmlns:a16="http://schemas.microsoft.com/office/drawing/2014/main" id="{00A586B2-1D1B-4036-B962-DE84E4D487F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9709725">
              <a:off x="6424559" y="4485019"/>
              <a:ext cx="1487459" cy="2316322"/>
            </a:xfrm>
            <a:prstGeom prst="rect">
              <a:avLst/>
            </a:prstGeom>
          </p:spPr>
        </p:pic>
        <p:pic>
          <p:nvPicPr>
            <p:cNvPr id="3" name="Graphic 2">
              <a:extLst>
                <a:ext uri="{FF2B5EF4-FFF2-40B4-BE49-F238E27FC236}">
                  <a16:creationId xmlns:a16="http://schemas.microsoft.com/office/drawing/2014/main" id="{A6BB57C1-9FB5-4596-9EE1-A0C5F263F2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21122454">
              <a:off x="1544367" y="2903043"/>
              <a:ext cx="5119372" cy="1711692"/>
            </a:xfrm>
            <a:prstGeom prst="rect">
              <a:avLst/>
            </a:prstGeom>
          </p:spPr>
        </p:pic>
      </p:grpSp>
    </p:spTree>
    <p:extLst>
      <p:ext uri="{BB962C8B-B14F-4D97-AF65-F5344CB8AC3E}">
        <p14:creationId xmlns:p14="http://schemas.microsoft.com/office/powerpoint/2010/main" val="90580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a street&#10;&#10;Description generated with high confidence">
            <a:extLst>
              <a:ext uri="{FF2B5EF4-FFF2-40B4-BE49-F238E27FC236}">
                <a16:creationId xmlns:a16="http://schemas.microsoft.com/office/drawing/2014/main" id="{F9B8F47B-C166-4392-B066-8CF76A1CD8E7}"/>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314" y="15949"/>
            <a:ext cx="9144000" cy="6842051"/>
          </a:xfrm>
          <a:prstGeom prst="rect">
            <a:avLst/>
          </a:prstGeom>
        </p:spPr>
      </p:pic>
      <p:sp>
        <p:nvSpPr>
          <p:cNvPr id="4" name="Rectangle 3">
            <a:extLst>
              <a:ext uri="{FF2B5EF4-FFF2-40B4-BE49-F238E27FC236}">
                <a16:creationId xmlns:a16="http://schemas.microsoft.com/office/drawing/2014/main" id="{5E3512A3-AD99-4C4A-81B8-BCB7D9345763}"/>
              </a:ext>
            </a:extLst>
          </p:cNvPr>
          <p:cNvSpPr/>
          <p:nvPr/>
        </p:nvSpPr>
        <p:spPr bwMode="auto">
          <a:xfrm>
            <a:off x="227286" y="4267200"/>
            <a:ext cx="8686800" cy="2057400"/>
          </a:xfrm>
          <a:prstGeom prst="rect">
            <a:avLst/>
          </a:prstGeom>
          <a:no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just" fontAlgn="base"/>
            <a:r>
              <a:rPr lang="en-US" sz="2300" dirty="0"/>
              <a:t>Derrick Conrad is satisfied with your assistance in helping him design his brochure. But now, he insists in getting your private number/email so that he could contact you if ever he needed more help with his other products. </a:t>
            </a:r>
          </a:p>
          <a:p>
            <a:pPr algn="just" fontAlgn="base"/>
            <a:endParaRPr lang="en-US" sz="2300" dirty="0"/>
          </a:p>
          <a:p>
            <a:pPr algn="just" fontAlgn="base"/>
            <a:r>
              <a:rPr lang="en-US" sz="2300" dirty="0"/>
              <a:t>What do you do?</a:t>
            </a:r>
            <a:endParaRPr lang="de-DE" sz="2300" dirty="0"/>
          </a:p>
          <a:p>
            <a:pPr algn="just" fontAlgn="base"/>
            <a:endParaRPr lang="en-US" b="1" dirty="0"/>
          </a:p>
          <a:p>
            <a:pPr algn="just" fontAlgn="base"/>
            <a:endParaRPr lang="de-DE" dirty="0"/>
          </a:p>
        </p:txBody>
      </p:sp>
      <p:sp>
        <p:nvSpPr>
          <p:cNvPr id="2" name="Rectangle 1">
            <a:extLst>
              <a:ext uri="{FF2B5EF4-FFF2-40B4-BE49-F238E27FC236}">
                <a16:creationId xmlns:a16="http://schemas.microsoft.com/office/drawing/2014/main" id="{44FD188D-1E7D-4D94-8550-068EBFF5A837}"/>
              </a:ext>
            </a:extLst>
          </p:cNvPr>
          <p:cNvSpPr/>
          <p:nvPr/>
        </p:nvSpPr>
        <p:spPr bwMode="auto">
          <a:xfrm>
            <a:off x="0" y="0"/>
            <a:ext cx="9144000" cy="6858000"/>
          </a:xfrm>
          <a:prstGeom prst="rect">
            <a:avLst/>
          </a:prstGeom>
          <a:noFill/>
          <a:ln w="127000" cap="flat">
            <a:solidFill>
              <a:schemeClr val="tx1"/>
            </a:solid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de-DE"/>
          </a:p>
        </p:txBody>
      </p:sp>
      <p:pic>
        <p:nvPicPr>
          <p:cNvPr id="9" name="Picture 8" descr="A person sitting at a table using a computer&#10;&#10;Description generated with very high confidence">
            <a:extLst>
              <a:ext uri="{FF2B5EF4-FFF2-40B4-BE49-F238E27FC236}">
                <a16:creationId xmlns:a16="http://schemas.microsoft.com/office/drawing/2014/main" id="{B2DF6F58-DFF6-49D4-A13E-3A3C2F68C7DE}"/>
              </a:ext>
            </a:extLst>
          </p:cNvPr>
          <p:cNvPicPr>
            <a:picLocks noChangeAspect="1"/>
          </p:cNvPicPr>
          <p:nvPr/>
        </p:nvPicPr>
        <p:blipFill>
          <a:blip r:embed="rId5" cstate="print">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val="0"/>
              </a:ext>
            </a:extLst>
          </a:blip>
          <a:stretch>
            <a:fillRect/>
          </a:stretch>
        </p:blipFill>
        <p:spPr>
          <a:xfrm>
            <a:off x="2311725" y="331927"/>
            <a:ext cx="4774875" cy="3581156"/>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92FAF6BA-CEF4-4B77-955C-3CC38BA45D7C}"/>
              </a:ext>
            </a:extLst>
          </p:cNvPr>
          <p:cNvSpPr txBox="1"/>
          <p:nvPr/>
        </p:nvSpPr>
        <p:spPr>
          <a:xfrm>
            <a:off x="1840977" y="484083"/>
            <a:ext cx="1969023" cy="800219"/>
          </a:xfrm>
          <a:prstGeom prst="rect">
            <a:avLst/>
          </a:prstGeom>
          <a:noFill/>
        </p:spPr>
        <p:txBody>
          <a:bodyPr wrap="square" rtlCol="0">
            <a:spAutoFit/>
          </a:bodyPr>
          <a:lstStyle/>
          <a:p>
            <a:r>
              <a:rPr lang="en-US" sz="2800" b="1" dirty="0">
                <a:latin typeface="Arial Black" panose="020B0A04020102020204" pitchFamily="34" charset="0"/>
              </a:rPr>
              <a:t>Scenario</a:t>
            </a:r>
          </a:p>
          <a:p>
            <a:endParaRPr lang="en-US" dirty="0"/>
          </a:p>
        </p:txBody>
      </p:sp>
      <p:pic>
        <p:nvPicPr>
          <p:cNvPr id="8" name="Graphic 7">
            <a:extLst>
              <a:ext uri="{FF2B5EF4-FFF2-40B4-BE49-F238E27FC236}">
                <a16:creationId xmlns:a16="http://schemas.microsoft.com/office/drawing/2014/main" id="{6D7720F4-BC8B-4784-9EF4-43777E0AF27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7734257">
            <a:off x="2420954" y="2593210"/>
            <a:ext cx="638928" cy="1884434"/>
          </a:xfrm>
          <a:prstGeom prst="rect">
            <a:avLst/>
          </a:prstGeom>
        </p:spPr>
      </p:pic>
      <p:pic>
        <p:nvPicPr>
          <p:cNvPr id="11" name="Graphic 10">
            <a:extLst>
              <a:ext uri="{FF2B5EF4-FFF2-40B4-BE49-F238E27FC236}">
                <a16:creationId xmlns:a16="http://schemas.microsoft.com/office/drawing/2014/main" id="{342018E3-7E46-4FCD-8372-1EEB3DE5745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28236" y="504508"/>
            <a:ext cx="679389" cy="1284324"/>
          </a:xfrm>
          <a:prstGeom prst="rect">
            <a:avLst/>
          </a:prstGeom>
        </p:spPr>
      </p:pic>
    </p:spTree>
    <p:extLst>
      <p:ext uri="{BB962C8B-B14F-4D97-AF65-F5344CB8AC3E}">
        <p14:creationId xmlns:p14="http://schemas.microsoft.com/office/powerpoint/2010/main" val="3986206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street&#10;&#10;Description generated with high confidence">
            <a:extLst>
              <a:ext uri="{FF2B5EF4-FFF2-40B4-BE49-F238E27FC236}">
                <a16:creationId xmlns:a16="http://schemas.microsoft.com/office/drawing/2014/main" id="{5727BE35-46F4-4FC2-B4E1-8658E68BD040}"/>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314" y="15948"/>
            <a:ext cx="9144000" cy="6842051"/>
          </a:xfrm>
          <a:prstGeom prst="rect">
            <a:avLst/>
          </a:prstGeom>
        </p:spPr>
      </p:pic>
      <p:sp>
        <p:nvSpPr>
          <p:cNvPr id="4" name="Rectangle 3">
            <a:extLst>
              <a:ext uri="{FF2B5EF4-FFF2-40B4-BE49-F238E27FC236}">
                <a16:creationId xmlns:a16="http://schemas.microsoft.com/office/drawing/2014/main" id="{5E3512A3-AD99-4C4A-81B8-BCB7D9345763}"/>
              </a:ext>
            </a:extLst>
          </p:cNvPr>
          <p:cNvSpPr/>
          <p:nvPr/>
        </p:nvSpPr>
        <p:spPr bwMode="auto">
          <a:xfrm>
            <a:off x="493986" y="4495800"/>
            <a:ext cx="8153400" cy="1905000"/>
          </a:xfrm>
          <a:prstGeom prst="rect">
            <a:avLst/>
          </a:prstGeom>
          <a:no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just" fontAlgn="base"/>
            <a:r>
              <a:rPr lang="en-US" sz="2300" dirty="0"/>
              <a:t>Jay Lambert is asking if he can pick-up his order at the nearest Vistaprint manufacturing plant since he lives nearby. </a:t>
            </a:r>
          </a:p>
          <a:p>
            <a:pPr algn="just" fontAlgn="base"/>
            <a:endParaRPr lang="en-US" sz="2300" dirty="0"/>
          </a:p>
          <a:p>
            <a:pPr algn="just" fontAlgn="base"/>
            <a:r>
              <a:rPr lang="en-US" sz="2300" dirty="0"/>
              <a:t>What do you do?</a:t>
            </a:r>
            <a:endParaRPr lang="de-DE" sz="2300" dirty="0"/>
          </a:p>
          <a:p>
            <a:pPr algn="just" fontAlgn="base"/>
            <a:endParaRPr lang="de-DE" dirty="0"/>
          </a:p>
        </p:txBody>
      </p:sp>
      <p:sp>
        <p:nvSpPr>
          <p:cNvPr id="2" name="Rectangle 1">
            <a:extLst>
              <a:ext uri="{FF2B5EF4-FFF2-40B4-BE49-F238E27FC236}">
                <a16:creationId xmlns:a16="http://schemas.microsoft.com/office/drawing/2014/main" id="{44FD188D-1E7D-4D94-8550-068EBFF5A837}"/>
              </a:ext>
            </a:extLst>
          </p:cNvPr>
          <p:cNvSpPr/>
          <p:nvPr/>
        </p:nvSpPr>
        <p:spPr bwMode="auto">
          <a:xfrm>
            <a:off x="0" y="0"/>
            <a:ext cx="9144000" cy="6858000"/>
          </a:xfrm>
          <a:prstGeom prst="rect">
            <a:avLst/>
          </a:prstGeom>
          <a:noFill/>
          <a:ln w="127000" cap="flat">
            <a:solidFill>
              <a:schemeClr val="tx1"/>
            </a:solid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de-DE"/>
          </a:p>
        </p:txBody>
      </p:sp>
      <p:pic>
        <p:nvPicPr>
          <p:cNvPr id="8" name="Picture 7" descr="A person in a blue shirt&#10;&#10;Description generated with very high confidence">
            <a:extLst>
              <a:ext uri="{FF2B5EF4-FFF2-40B4-BE49-F238E27FC236}">
                <a16:creationId xmlns:a16="http://schemas.microsoft.com/office/drawing/2014/main" id="{662E6E13-7D7B-448F-A9F5-FBEA4A511E6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53438" y="228600"/>
            <a:ext cx="5007923" cy="3604228"/>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77058427-EF8E-4982-802F-749EEA2AB14B}"/>
              </a:ext>
            </a:extLst>
          </p:cNvPr>
          <p:cNvSpPr txBox="1"/>
          <p:nvPr/>
        </p:nvSpPr>
        <p:spPr>
          <a:xfrm>
            <a:off x="4421936" y="419602"/>
            <a:ext cx="2088052" cy="800219"/>
          </a:xfrm>
          <a:prstGeom prst="rect">
            <a:avLst/>
          </a:prstGeom>
          <a:noFill/>
        </p:spPr>
        <p:txBody>
          <a:bodyPr wrap="square" rtlCol="0">
            <a:spAutoFit/>
          </a:bodyPr>
          <a:lstStyle/>
          <a:p>
            <a:r>
              <a:rPr lang="en-US" sz="2800" b="1" dirty="0">
                <a:latin typeface="Arial Black" panose="020B0A04020102020204" pitchFamily="34" charset="0"/>
              </a:rPr>
              <a:t>Scenario</a:t>
            </a:r>
          </a:p>
          <a:p>
            <a:endParaRPr lang="en-US" dirty="0"/>
          </a:p>
        </p:txBody>
      </p:sp>
      <p:pic>
        <p:nvPicPr>
          <p:cNvPr id="6" name="Graphic 5">
            <a:extLst>
              <a:ext uri="{FF2B5EF4-FFF2-40B4-BE49-F238E27FC236}">
                <a16:creationId xmlns:a16="http://schemas.microsoft.com/office/drawing/2014/main" id="{7136F520-E308-4A4D-9F6E-04D5FD18FF8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832476">
            <a:off x="1656232" y="1725089"/>
            <a:ext cx="484388" cy="1523274"/>
          </a:xfrm>
          <a:prstGeom prst="rect">
            <a:avLst/>
          </a:prstGeom>
        </p:spPr>
      </p:pic>
      <p:pic>
        <p:nvPicPr>
          <p:cNvPr id="11" name="Graphic 10">
            <a:extLst>
              <a:ext uri="{FF2B5EF4-FFF2-40B4-BE49-F238E27FC236}">
                <a16:creationId xmlns:a16="http://schemas.microsoft.com/office/drawing/2014/main" id="{C1D8C8D2-12D5-47F8-B054-4E9F8D7D032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72200" y="757654"/>
            <a:ext cx="1433786" cy="1306338"/>
          </a:xfrm>
          <a:prstGeom prst="rect">
            <a:avLst/>
          </a:prstGeom>
        </p:spPr>
      </p:pic>
    </p:spTree>
    <p:extLst>
      <p:ext uri="{BB962C8B-B14F-4D97-AF65-F5344CB8AC3E}">
        <p14:creationId xmlns:p14="http://schemas.microsoft.com/office/powerpoint/2010/main" val="136505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street&#10;&#10;Description generated with high confidence">
            <a:extLst>
              <a:ext uri="{FF2B5EF4-FFF2-40B4-BE49-F238E27FC236}">
                <a16:creationId xmlns:a16="http://schemas.microsoft.com/office/drawing/2014/main" id="{054990F4-6003-4141-AE62-EDA568449C8F}"/>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314" y="15949"/>
            <a:ext cx="9144000" cy="6842051"/>
          </a:xfrm>
          <a:prstGeom prst="rect">
            <a:avLst/>
          </a:prstGeom>
        </p:spPr>
      </p:pic>
      <p:sp>
        <p:nvSpPr>
          <p:cNvPr id="4" name="Rectangle 3">
            <a:extLst>
              <a:ext uri="{FF2B5EF4-FFF2-40B4-BE49-F238E27FC236}">
                <a16:creationId xmlns:a16="http://schemas.microsoft.com/office/drawing/2014/main" id="{5E3512A3-AD99-4C4A-81B8-BCB7D9345763}"/>
              </a:ext>
            </a:extLst>
          </p:cNvPr>
          <p:cNvSpPr/>
          <p:nvPr/>
        </p:nvSpPr>
        <p:spPr bwMode="auto">
          <a:xfrm>
            <a:off x="533400" y="4419600"/>
            <a:ext cx="8077200" cy="1905000"/>
          </a:xfrm>
          <a:prstGeom prst="rect">
            <a:avLst/>
          </a:prstGeom>
          <a:no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just" fontAlgn="base"/>
            <a:r>
              <a:rPr lang="en-US" sz="2300" dirty="0"/>
              <a:t>Renee Adams is dissatisfied with the paper used on her flyer and wants to talk to our main office by requesting for their number. </a:t>
            </a:r>
          </a:p>
          <a:p>
            <a:pPr algn="just" fontAlgn="base"/>
            <a:endParaRPr lang="en-US" sz="2300" dirty="0"/>
          </a:p>
          <a:p>
            <a:pPr algn="just" fontAlgn="base"/>
            <a:r>
              <a:rPr lang="en-US" sz="2300" dirty="0"/>
              <a:t>What do you do?</a:t>
            </a:r>
            <a:endParaRPr lang="de-DE" sz="2300" dirty="0"/>
          </a:p>
          <a:p>
            <a:pPr algn="just" fontAlgn="base"/>
            <a:r>
              <a:rPr lang="en-US" b="1" dirty="0"/>
              <a:t> </a:t>
            </a:r>
            <a:endParaRPr lang="de-DE" dirty="0"/>
          </a:p>
        </p:txBody>
      </p:sp>
      <p:sp>
        <p:nvSpPr>
          <p:cNvPr id="2" name="Rectangle 1">
            <a:extLst>
              <a:ext uri="{FF2B5EF4-FFF2-40B4-BE49-F238E27FC236}">
                <a16:creationId xmlns:a16="http://schemas.microsoft.com/office/drawing/2014/main" id="{44FD188D-1E7D-4D94-8550-068EBFF5A837}"/>
              </a:ext>
            </a:extLst>
          </p:cNvPr>
          <p:cNvSpPr/>
          <p:nvPr/>
        </p:nvSpPr>
        <p:spPr bwMode="auto">
          <a:xfrm>
            <a:off x="0" y="0"/>
            <a:ext cx="9144000" cy="6858000"/>
          </a:xfrm>
          <a:prstGeom prst="rect">
            <a:avLst/>
          </a:prstGeom>
          <a:noFill/>
          <a:ln w="127000" cap="flat">
            <a:solidFill>
              <a:schemeClr val="tx1"/>
            </a:solid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de-DE"/>
          </a:p>
        </p:txBody>
      </p:sp>
      <p:pic>
        <p:nvPicPr>
          <p:cNvPr id="9" name="Picture 8" descr="A person talking on a cell phone&#10;&#10;Description generated with very high confidence">
            <a:extLst>
              <a:ext uri="{FF2B5EF4-FFF2-40B4-BE49-F238E27FC236}">
                <a16:creationId xmlns:a16="http://schemas.microsoft.com/office/drawing/2014/main" id="{4AA181C1-64B4-4A88-BCBE-A4FACA698B8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33600" y="304800"/>
            <a:ext cx="4712223" cy="3534167"/>
          </a:xfrm>
          <a:prstGeom prst="rect">
            <a:avLst/>
          </a:prstGeom>
          <a:ln>
            <a:noFill/>
          </a:ln>
          <a:effectLst>
            <a:outerShdw blurRad="292100" dist="139700" dir="2700000" algn="tl" rotWithShape="0">
              <a:srgbClr val="333333">
                <a:alpha val="65000"/>
              </a:srgbClr>
            </a:outerShdw>
          </a:effectLst>
        </p:spPr>
      </p:pic>
      <p:pic>
        <p:nvPicPr>
          <p:cNvPr id="7" name="Graphic 6">
            <a:extLst>
              <a:ext uri="{FF2B5EF4-FFF2-40B4-BE49-F238E27FC236}">
                <a16:creationId xmlns:a16="http://schemas.microsoft.com/office/drawing/2014/main" id="{E43BE534-9233-4F32-ABB0-D59AAF11CD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7734257">
            <a:off x="2280730" y="2189484"/>
            <a:ext cx="638928" cy="1884434"/>
          </a:xfrm>
          <a:prstGeom prst="rect">
            <a:avLst/>
          </a:prstGeom>
        </p:spPr>
      </p:pic>
      <p:sp>
        <p:nvSpPr>
          <p:cNvPr id="8" name="TextBox 7">
            <a:extLst>
              <a:ext uri="{FF2B5EF4-FFF2-40B4-BE49-F238E27FC236}">
                <a16:creationId xmlns:a16="http://schemas.microsoft.com/office/drawing/2014/main" id="{C841A797-806B-4042-B279-95C1B823284E}"/>
              </a:ext>
            </a:extLst>
          </p:cNvPr>
          <p:cNvSpPr txBox="1"/>
          <p:nvPr/>
        </p:nvSpPr>
        <p:spPr>
          <a:xfrm>
            <a:off x="4914015" y="484395"/>
            <a:ext cx="1969023" cy="800219"/>
          </a:xfrm>
          <a:prstGeom prst="rect">
            <a:avLst/>
          </a:prstGeom>
          <a:noFill/>
        </p:spPr>
        <p:txBody>
          <a:bodyPr wrap="square" rtlCol="0">
            <a:spAutoFit/>
          </a:bodyPr>
          <a:lstStyle/>
          <a:p>
            <a:r>
              <a:rPr lang="en-US" sz="2800" b="1" dirty="0">
                <a:latin typeface="Arial Black" panose="020B0A04020102020204" pitchFamily="34" charset="0"/>
              </a:rPr>
              <a:t>Scenario</a:t>
            </a:r>
          </a:p>
          <a:p>
            <a:endParaRPr lang="en-US" dirty="0"/>
          </a:p>
        </p:txBody>
      </p:sp>
      <p:pic>
        <p:nvPicPr>
          <p:cNvPr id="12" name="Graphic 11">
            <a:extLst>
              <a:ext uri="{FF2B5EF4-FFF2-40B4-BE49-F238E27FC236}">
                <a16:creationId xmlns:a16="http://schemas.microsoft.com/office/drawing/2014/main" id="{9684A782-4A07-4147-8F87-B7969AF77C1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77000" y="1111668"/>
            <a:ext cx="1221281" cy="1282784"/>
          </a:xfrm>
          <a:prstGeom prst="rect">
            <a:avLst/>
          </a:prstGeom>
        </p:spPr>
      </p:pic>
    </p:spTree>
    <p:extLst>
      <p:ext uri="{BB962C8B-B14F-4D97-AF65-F5344CB8AC3E}">
        <p14:creationId xmlns:p14="http://schemas.microsoft.com/office/powerpoint/2010/main" val="288213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close up of a street&#10;&#10;Description generated with high confidence">
            <a:extLst>
              <a:ext uri="{FF2B5EF4-FFF2-40B4-BE49-F238E27FC236}">
                <a16:creationId xmlns:a16="http://schemas.microsoft.com/office/drawing/2014/main" id="{D6650B3D-434E-4ADC-8EF7-69169544EDA0}"/>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314" y="15948"/>
            <a:ext cx="9144000" cy="6842051"/>
          </a:xfrm>
          <a:prstGeom prst="rect">
            <a:avLst/>
          </a:prstGeom>
        </p:spPr>
      </p:pic>
      <p:sp>
        <p:nvSpPr>
          <p:cNvPr id="4" name="Rectangle 3">
            <a:extLst>
              <a:ext uri="{FF2B5EF4-FFF2-40B4-BE49-F238E27FC236}">
                <a16:creationId xmlns:a16="http://schemas.microsoft.com/office/drawing/2014/main" id="{5E3512A3-AD99-4C4A-81B8-BCB7D9345763}"/>
              </a:ext>
            </a:extLst>
          </p:cNvPr>
          <p:cNvSpPr/>
          <p:nvPr/>
        </p:nvSpPr>
        <p:spPr bwMode="auto">
          <a:xfrm>
            <a:off x="189185" y="3122930"/>
            <a:ext cx="8763001" cy="3821847"/>
          </a:xfrm>
          <a:prstGeom prst="rect">
            <a:avLst/>
          </a:prstGeom>
          <a:no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fontAlgn="base"/>
            <a:endParaRPr lang="en-US" sz="2400" b="1" dirty="0"/>
          </a:p>
          <a:p>
            <a:pPr fontAlgn="base"/>
            <a:r>
              <a:rPr lang="en-US" sz="2300" dirty="0"/>
              <a:t>Annie Johnson had ordered business cards for a tradeshow event to promote her pet clothing business and give discounts to future customers. Unfortunately, her order did not arrive on time and in the end, she doesn’t want the order from us anymore and would want to get a refund. </a:t>
            </a:r>
          </a:p>
          <a:p>
            <a:pPr fontAlgn="base"/>
            <a:endParaRPr lang="en-US" sz="2300" dirty="0"/>
          </a:p>
          <a:p>
            <a:pPr fontAlgn="base"/>
            <a:r>
              <a:rPr lang="en-US" sz="2300" dirty="0"/>
              <a:t>You check the system and indeed see we’re past delivery due date. </a:t>
            </a:r>
            <a:br>
              <a:rPr lang="en-US" sz="2300" dirty="0"/>
            </a:br>
            <a:r>
              <a:rPr lang="en-US" sz="2300" dirty="0"/>
              <a:t>What do you do?</a:t>
            </a:r>
            <a:endParaRPr lang="de-DE" sz="2300" dirty="0"/>
          </a:p>
        </p:txBody>
      </p:sp>
      <p:sp>
        <p:nvSpPr>
          <p:cNvPr id="2" name="Rectangle 1">
            <a:extLst>
              <a:ext uri="{FF2B5EF4-FFF2-40B4-BE49-F238E27FC236}">
                <a16:creationId xmlns:a16="http://schemas.microsoft.com/office/drawing/2014/main" id="{44FD188D-1E7D-4D94-8550-068EBFF5A837}"/>
              </a:ext>
            </a:extLst>
          </p:cNvPr>
          <p:cNvSpPr/>
          <p:nvPr/>
        </p:nvSpPr>
        <p:spPr bwMode="auto">
          <a:xfrm>
            <a:off x="0" y="0"/>
            <a:ext cx="9141372" cy="6858000"/>
          </a:xfrm>
          <a:prstGeom prst="rect">
            <a:avLst/>
          </a:prstGeom>
          <a:noFill/>
          <a:ln w="127000" cap="flat">
            <a:solidFill>
              <a:schemeClr val="tx1"/>
            </a:solid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de-DE"/>
          </a:p>
        </p:txBody>
      </p:sp>
      <p:pic>
        <p:nvPicPr>
          <p:cNvPr id="5" name="Picture 4" descr="A picture containing person, dog, grass, sitting&#10;&#10;Description generated with very high confidence">
            <a:extLst>
              <a:ext uri="{FF2B5EF4-FFF2-40B4-BE49-F238E27FC236}">
                <a16:creationId xmlns:a16="http://schemas.microsoft.com/office/drawing/2014/main" id="{783AEB91-9D33-416F-AB96-B773C8DBD302}"/>
              </a:ext>
            </a:extLst>
          </p:cNvPr>
          <p:cNvPicPr>
            <a:picLocks noChangeAspect="1"/>
          </p:cNvPicPr>
          <p:nvPr/>
        </p:nvPicPr>
        <p:blipFill rotWithShape="1">
          <a:blip r:embed="rId5">
            <a:extLst>
              <a:ext uri="{28A0092B-C50C-407E-A947-70E740481C1C}">
                <a14:useLocalDpi xmlns:a14="http://schemas.microsoft.com/office/drawing/2010/main" val="0"/>
              </a:ext>
            </a:extLst>
          </a:blip>
          <a:srcRect l="-45" t="-901" r="-496" b="901"/>
          <a:stretch/>
        </p:blipFill>
        <p:spPr>
          <a:xfrm>
            <a:off x="2475709" y="0"/>
            <a:ext cx="4189821" cy="3125472"/>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1810570E-AEDC-4567-93EE-673588DB898A}"/>
              </a:ext>
            </a:extLst>
          </p:cNvPr>
          <p:cNvSpPr txBox="1"/>
          <p:nvPr/>
        </p:nvSpPr>
        <p:spPr>
          <a:xfrm>
            <a:off x="4372025" y="152400"/>
            <a:ext cx="2300822" cy="800219"/>
          </a:xfrm>
          <a:prstGeom prst="rect">
            <a:avLst/>
          </a:prstGeom>
          <a:noFill/>
        </p:spPr>
        <p:txBody>
          <a:bodyPr wrap="square" rtlCol="0">
            <a:spAutoFit/>
          </a:bodyPr>
          <a:lstStyle/>
          <a:p>
            <a:r>
              <a:rPr lang="en-US" sz="2800" b="1" dirty="0">
                <a:latin typeface="Arial Black" panose="020B0A04020102020204" pitchFamily="34" charset="0"/>
              </a:rPr>
              <a:t>Scenario</a:t>
            </a:r>
          </a:p>
          <a:p>
            <a:endParaRPr lang="en-US" dirty="0"/>
          </a:p>
        </p:txBody>
      </p:sp>
      <p:pic>
        <p:nvPicPr>
          <p:cNvPr id="14" name="Graphic 13">
            <a:extLst>
              <a:ext uri="{FF2B5EF4-FFF2-40B4-BE49-F238E27FC236}">
                <a16:creationId xmlns:a16="http://schemas.microsoft.com/office/drawing/2014/main" id="{6241A155-DDF5-40B1-9368-5CEF6C3E08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4168943">
            <a:off x="6013759" y="1917349"/>
            <a:ext cx="688076" cy="2029390"/>
          </a:xfrm>
          <a:prstGeom prst="rect">
            <a:avLst/>
          </a:prstGeom>
        </p:spPr>
      </p:pic>
      <p:pic>
        <p:nvPicPr>
          <p:cNvPr id="16" name="Graphic 15">
            <a:extLst>
              <a:ext uri="{FF2B5EF4-FFF2-40B4-BE49-F238E27FC236}">
                <a16:creationId xmlns:a16="http://schemas.microsoft.com/office/drawing/2014/main" id="{E8787C57-B5E0-48D1-A5F7-910CF79587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50061" y="407746"/>
            <a:ext cx="614089" cy="1355721"/>
          </a:xfrm>
          <a:prstGeom prst="rect">
            <a:avLst/>
          </a:prstGeom>
        </p:spPr>
      </p:pic>
    </p:spTree>
    <p:extLst>
      <p:ext uri="{BB962C8B-B14F-4D97-AF65-F5344CB8AC3E}">
        <p14:creationId xmlns:p14="http://schemas.microsoft.com/office/powerpoint/2010/main" val="353854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close up of a street&#10;&#10;Description generated with high confidence">
            <a:extLst>
              <a:ext uri="{FF2B5EF4-FFF2-40B4-BE49-F238E27FC236}">
                <a16:creationId xmlns:a16="http://schemas.microsoft.com/office/drawing/2014/main" id="{FE97C6CE-4799-47D4-89E0-A545B609C013}"/>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314" y="15948"/>
            <a:ext cx="9144000" cy="6842051"/>
          </a:xfrm>
          <a:prstGeom prst="rect">
            <a:avLst/>
          </a:prstGeom>
        </p:spPr>
      </p:pic>
      <p:sp>
        <p:nvSpPr>
          <p:cNvPr id="4" name="Rectangle 3">
            <a:extLst>
              <a:ext uri="{FF2B5EF4-FFF2-40B4-BE49-F238E27FC236}">
                <a16:creationId xmlns:a16="http://schemas.microsoft.com/office/drawing/2014/main" id="{5E3512A3-AD99-4C4A-81B8-BCB7D9345763}"/>
              </a:ext>
            </a:extLst>
          </p:cNvPr>
          <p:cNvSpPr/>
          <p:nvPr/>
        </p:nvSpPr>
        <p:spPr bwMode="auto">
          <a:xfrm>
            <a:off x="228600" y="4417871"/>
            <a:ext cx="8686800" cy="1600200"/>
          </a:xfrm>
          <a:prstGeom prst="rect">
            <a:avLst/>
          </a:prstGeom>
          <a:no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just" fontAlgn="base"/>
            <a:r>
              <a:rPr lang="en-US" sz="2300" dirty="0"/>
              <a:t>Henry tried to make a flyer on the Vistaprint website last night, but then the largest size of the product could not fit all the words and images he would want in the design. </a:t>
            </a:r>
          </a:p>
          <a:p>
            <a:pPr algn="just" fontAlgn="base"/>
            <a:endParaRPr lang="en-US" sz="2300" dirty="0"/>
          </a:p>
          <a:p>
            <a:pPr algn="just" fontAlgn="base"/>
            <a:r>
              <a:rPr lang="en-US" sz="2300" dirty="0"/>
              <a:t>What could you do to help Henry with his problem?</a:t>
            </a:r>
            <a:endParaRPr lang="de-DE" sz="2300" dirty="0"/>
          </a:p>
        </p:txBody>
      </p:sp>
      <p:sp>
        <p:nvSpPr>
          <p:cNvPr id="2" name="Rectangle 1">
            <a:extLst>
              <a:ext uri="{FF2B5EF4-FFF2-40B4-BE49-F238E27FC236}">
                <a16:creationId xmlns:a16="http://schemas.microsoft.com/office/drawing/2014/main" id="{44FD188D-1E7D-4D94-8550-068EBFF5A837}"/>
              </a:ext>
            </a:extLst>
          </p:cNvPr>
          <p:cNvSpPr/>
          <p:nvPr/>
        </p:nvSpPr>
        <p:spPr bwMode="auto">
          <a:xfrm>
            <a:off x="1" y="0"/>
            <a:ext cx="9144000" cy="6858000"/>
          </a:xfrm>
          <a:prstGeom prst="rect">
            <a:avLst/>
          </a:prstGeom>
          <a:noFill/>
          <a:ln w="127000" cap="flat">
            <a:solidFill>
              <a:schemeClr val="tx1"/>
            </a:solid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de-DE"/>
          </a:p>
        </p:txBody>
      </p:sp>
      <p:pic>
        <p:nvPicPr>
          <p:cNvPr id="6" name="Picture 5" descr="A person wearing glasses&#10;&#10;Description generated with very high confidence">
            <a:extLst>
              <a:ext uri="{FF2B5EF4-FFF2-40B4-BE49-F238E27FC236}">
                <a16:creationId xmlns:a16="http://schemas.microsoft.com/office/drawing/2014/main" id="{75535F45-4090-4051-9CCD-6012DAB8719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06200" y="462645"/>
            <a:ext cx="4296160" cy="3508530"/>
          </a:xfrm>
          <a:prstGeom prst="rect">
            <a:avLst/>
          </a:prstGeom>
          <a:ln>
            <a:noFill/>
          </a:ln>
          <a:effectLst>
            <a:outerShdw blurRad="190500" algn="tl" rotWithShape="0">
              <a:srgbClr val="000000">
                <a:alpha val="70000"/>
              </a:srgbClr>
            </a:outerShdw>
          </a:effectLst>
        </p:spPr>
      </p:pic>
      <p:sp>
        <p:nvSpPr>
          <p:cNvPr id="7" name="TextBox 6">
            <a:extLst>
              <a:ext uri="{FF2B5EF4-FFF2-40B4-BE49-F238E27FC236}">
                <a16:creationId xmlns:a16="http://schemas.microsoft.com/office/drawing/2014/main" id="{0259F6DF-27E5-474D-9092-69F640D5C133}"/>
              </a:ext>
            </a:extLst>
          </p:cNvPr>
          <p:cNvSpPr txBox="1"/>
          <p:nvPr/>
        </p:nvSpPr>
        <p:spPr>
          <a:xfrm>
            <a:off x="5334000" y="762000"/>
            <a:ext cx="914400" cy="685800"/>
          </a:xfrm>
          <a:prstGeom prst="rect">
            <a:avLst/>
          </a:prstGeom>
          <a:noFill/>
        </p:spPr>
        <p:txBody>
          <a:bodyPr wrap="square" rtlCol="0">
            <a:spAutoFit/>
          </a:bodyPr>
          <a:lstStyle/>
          <a:p>
            <a:endParaRPr lang="en-US"/>
          </a:p>
        </p:txBody>
      </p:sp>
      <p:sp>
        <p:nvSpPr>
          <p:cNvPr id="10" name="TextBox 9">
            <a:extLst>
              <a:ext uri="{FF2B5EF4-FFF2-40B4-BE49-F238E27FC236}">
                <a16:creationId xmlns:a16="http://schemas.microsoft.com/office/drawing/2014/main" id="{38345A6A-978C-43E9-AA42-AAB09F2C3740}"/>
              </a:ext>
            </a:extLst>
          </p:cNvPr>
          <p:cNvSpPr txBox="1"/>
          <p:nvPr/>
        </p:nvSpPr>
        <p:spPr>
          <a:xfrm>
            <a:off x="4947947" y="665462"/>
            <a:ext cx="2088052" cy="800219"/>
          </a:xfrm>
          <a:prstGeom prst="rect">
            <a:avLst/>
          </a:prstGeom>
          <a:noFill/>
        </p:spPr>
        <p:txBody>
          <a:bodyPr wrap="square" rtlCol="0">
            <a:spAutoFit/>
          </a:bodyPr>
          <a:lstStyle/>
          <a:p>
            <a:r>
              <a:rPr lang="en-US" sz="2800" b="1" dirty="0">
                <a:latin typeface="Arial Black" panose="020B0A04020102020204" pitchFamily="34" charset="0"/>
              </a:rPr>
              <a:t>Scenario</a:t>
            </a:r>
          </a:p>
          <a:p>
            <a:endParaRPr lang="en-US" dirty="0"/>
          </a:p>
        </p:txBody>
      </p:sp>
      <p:pic>
        <p:nvPicPr>
          <p:cNvPr id="11" name="Graphic 10">
            <a:extLst>
              <a:ext uri="{FF2B5EF4-FFF2-40B4-BE49-F238E27FC236}">
                <a16:creationId xmlns:a16="http://schemas.microsoft.com/office/drawing/2014/main" id="{9BFE8A49-70B7-41D1-A6A9-3591A943EB5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7684020">
            <a:off x="2324190" y="2367808"/>
            <a:ext cx="484388" cy="1523274"/>
          </a:xfrm>
          <a:prstGeom prst="rect">
            <a:avLst/>
          </a:prstGeom>
        </p:spPr>
      </p:pic>
      <p:pic>
        <p:nvPicPr>
          <p:cNvPr id="15" name="Graphic 14">
            <a:extLst>
              <a:ext uri="{FF2B5EF4-FFF2-40B4-BE49-F238E27FC236}">
                <a16:creationId xmlns:a16="http://schemas.microsoft.com/office/drawing/2014/main" id="{90518616-3A2B-4C87-85E0-3ABEC844B5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00376" y="1030865"/>
            <a:ext cx="749041" cy="1275266"/>
          </a:xfrm>
          <a:prstGeom prst="rect">
            <a:avLst/>
          </a:prstGeom>
        </p:spPr>
      </p:pic>
    </p:spTree>
    <p:extLst>
      <p:ext uri="{BB962C8B-B14F-4D97-AF65-F5344CB8AC3E}">
        <p14:creationId xmlns:p14="http://schemas.microsoft.com/office/powerpoint/2010/main" val="1741801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street&#10;&#10;Description generated with high confidence">
            <a:extLst>
              <a:ext uri="{FF2B5EF4-FFF2-40B4-BE49-F238E27FC236}">
                <a16:creationId xmlns:a16="http://schemas.microsoft.com/office/drawing/2014/main" id="{E573AF1E-45FE-45B6-B987-A69A9189689B}"/>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314" y="15949"/>
            <a:ext cx="9144000" cy="6842051"/>
          </a:xfrm>
          <a:prstGeom prst="rect">
            <a:avLst/>
          </a:prstGeom>
        </p:spPr>
      </p:pic>
      <p:sp>
        <p:nvSpPr>
          <p:cNvPr id="4" name="Rectangle 3">
            <a:extLst>
              <a:ext uri="{FF2B5EF4-FFF2-40B4-BE49-F238E27FC236}">
                <a16:creationId xmlns:a16="http://schemas.microsoft.com/office/drawing/2014/main" id="{5E3512A3-AD99-4C4A-81B8-BCB7D9345763}"/>
              </a:ext>
            </a:extLst>
          </p:cNvPr>
          <p:cNvSpPr/>
          <p:nvPr/>
        </p:nvSpPr>
        <p:spPr bwMode="auto">
          <a:xfrm>
            <a:off x="285093" y="3657600"/>
            <a:ext cx="8571186" cy="2746964"/>
          </a:xfrm>
          <a:prstGeom prst="rect">
            <a:avLst/>
          </a:prstGeom>
          <a:no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just" fontAlgn="base"/>
            <a:endParaRPr lang="en-US" b="1" dirty="0"/>
          </a:p>
          <a:p>
            <a:pPr algn="just" fontAlgn="base"/>
            <a:r>
              <a:rPr lang="en-US" sz="2300" dirty="0"/>
              <a:t>Kelsey Becker wanted to receive her order of postcards with a delivery speed of 5 working days and insists that that was the shipping speed she paid for when she ordered 2 days ago. However, you checked the system and saw that the delivery speed chosen was “Economy”, the slower option. </a:t>
            </a:r>
          </a:p>
          <a:p>
            <a:pPr algn="just" fontAlgn="base"/>
            <a:endParaRPr lang="en-US" sz="2300" dirty="0"/>
          </a:p>
          <a:p>
            <a:pPr algn="just" fontAlgn="base"/>
            <a:r>
              <a:rPr lang="en-US" sz="2300" dirty="0"/>
              <a:t>What do you do?</a:t>
            </a:r>
            <a:endParaRPr lang="de-DE" sz="2300" dirty="0"/>
          </a:p>
          <a:p>
            <a:pPr algn="just" fontAlgn="base"/>
            <a:r>
              <a:rPr lang="en-US" sz="2000" b="1" dirty="0"/>
              <a:t> </a:t>
            </a:r>
            <a:endParaRPr lang="de-DE" dirty="0"/>
          </a:p>
        </p:txBody>
      </p:sp>
      <p:sp>
        <p:nvSpPr>
          <p:cNvPr id="2" name="Rectangle 1">
            <a:extLst>
              <a:ext uri="{FF2B5EF4-FFF2-40B4-BE49-F238E27FC236}">
                <a16:creationId xmlns:a16="http://schemas.microsoft.com/office/drawing/2014/main" id="{44FD188D-1E7D-4D94-8550-068EBFF5A837}"/>
              </a:ext>
            </a:extLst>
          </p:cNvPr>
          <p:cNvSpPr/>
          <p:nvPr/>
        </p:nvSpPr>
        <p:spPr bwMode="auto">
          <a:xfrm>
            <a:off x="0" y="0"/>
            <a:ext cx="9144000" cy="6858000"/>
          </a:xfrm>
          <a:prstGeom prst="rect">
            <a:avLst/>
          </a:prstGeom>
          <a:noFill/>
          <a:ln w="127000" cap="flat">
            <a:solidFill>
              <a:schemeClr val="tx1"/>
            </a:solid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de-DE"/>
          </a:p>
        </p:txBody>
      </p:sp>
      <p:pic>
        <p:nvPicPr>
          <p:cNvPr id="6" name="Picture 5" descr="A person posing for the camera&#10;&#10;Description generated with very high confidence">
            <a:extLst>
              <a:ext uri="{FF2B5EF4-FFF2-40B4-BE49-F238E27FC236}">
                <a16:creationId xmlns:a16="http://schemas.microsoft.com/office/drawing/2014/main" id="{4068394E-889D-4A4B-A27C-22B94E21316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01763" y="252056"/>
            <a:ext cx="4457700" cy="3329344"/>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7D36E650-068F-42E8-91D0-EF7BA238A691}"/>
              </a:ext>
            </a:extLst>
          </p:cNvPr>
          <p:cNvSpPr txBox="1"/>
          <p:nvPr/>
        </p:nvSpPr>
        <p:spPr>
          <a:xfrm>
            <a:off x="2155625" y="314986"/>
            <a:ext cx="1969023" cy="800219"/>
          </a:xfrm>
          <a:prstGeom prst="rect">
            <a:avLst/>
          </a:prstGeom>
          <a:noFill/>
        </p:spPr>
        <p:txBody>
          <a:bodyPr wrap="square" rtlCol="0">
            <a:spAutoFit/>
          </a:bodyPr>
          <a:lstStyle/>
          <a:p>
            <a:r>
              <a:rPr lang="en-US" sz="2800" b="1" dirty="0">
                <a:latin typeface="Arial Black" panose="020B0A04020102020204" pitchFamily="34" charset="0"/>
              </a:rPr>
              <a:t>Scenario</a:t>
            </a:r>
          </a:p>
          <a:p>
            <a:endParaRPr lang="en-US" dirty="0"/>
          </a:p>
        </p:txBody>
      </p:sp>
      <p:pic>
        <p:nvPicPr>
          <p:cNvPr id="10" name="Graphic 9">
            <a:extLst>
              <a:ext uri="{FF2B5EF4-FFF2-40B4-BE49-F238E27FC236}">
                <a16:creationId xmlns:a16="http://schemas.microsoft.com/office/drawing/2014/main" id="{56937C2F-D106-4A5E-AD71-FC233E7C851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035617">
            <a:off x="2609462" y="1288162"/>
            <a:ext cx="638928" cy="1884434"/>
          </a:xfrm>
          <a:prstGeom prst="rect">
            <a:avLst/>
          </a:prstGeom>
        </p:spPr>
      </p:pic>
      <p:pic>
        <p:nvPicPr>
          <p:cNvPr id="11" name="Graphic 10">
            <a:extLst>
              <a:ext uri="{FF2B5EF4-FFF2-40B4-BE49-F238E27FC236}">
                <a16:creationId xmlns:a16="http://schemas.microsoft.com/office/drawing/2014/main" id="{B581A0CD-3CFF-4402-8D68-1F173071DEE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059138" y="314987"/>
            <a:ext cx="644724" cy="1472907"/>
          </a:xfrm>
          <a:prstGeom prst="rect">
            <a:avLst/>
          </a:prstGeom>
        </p:spPr>
      </p:pic>
    </p:spTree>
    <p:extLst>
      <p:ext uri="{BB962C8B-B14F-4D97-AF65-F5344CB8AC3E}">
        <p14:creationId xmlns:p14="http://schemas.microsoft.com/office/powerpoint/2010/main" val="1661802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close up of a street&#10;&#10;Description generated with high confidence">
            <a:extLst>
              <a:ext uri="{FF2B5EF4-FFF2-40B4-BE49-F238E27FC236}">
                <a16:creationId xmlns:a16="http://schemas.microsoft.com/office/drawing/2014/main" id="{1EEC9E03-FBC1-42FD-854C-FE5732C8E55C}"/>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314" y="15948"/>
            <a:ext cx="9144000" cy="6842051"/>
          </a:xfrm>
          <a:prstGeom prst="rect">
            <a:avLst/>
          </a:prstGeom>
        </p:spPr>
      </p:pic>
      <p:sp>
        <p:nvSpPr>
          <p:cNvPr id="4" name="Rectangle 3">
            <a:extLst>
              <a:ext uri="{FF2B5EF4-FFF2-40B4-BE49-F238E27FC236}">
                <a16:creationId xmlns:a16="http://schemas.microsoft.com/office/drawing/2014/main" id="{5E3512A3-AD99-4C4A-81B8-BCB7D9345763}"/>
              </a:ext>
            </a:extLst>
          </p:cNvPr>
          <p:cNvSpPr/>
          <p:nvPr/>
        </p:nvSpPr>
        <p:spPr bwMode="auto">
          <a:xfrm>
            <a:off x="304800" y="4495800"/>
            <a:ext cx="8572122" cy="1905000"/>
          </a:xfrm>
          <a:prstGeom prst="rect">
            <a:avLst/>
          </a:prstGeom>
          <a:no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just" fontAlgn="base"/>
            <a:r>
              <a:rPr lang="en-US" sz="2300"/>
              <a:t>Courtney wants </a:t>
            </a:r>
            <a:r>
              <a:rPr lang="en-US" sz="2300" dirty="0"/>
              <a:t>to add a </a:t>
            </a:r>
            <a:r>
              <a:rPr lang="en-US" sz="2300"/>
              <a:t>picture on </a:t>
            </a:r>
            <a:r>
              <a:rPr lang="en-US" sz="2300" dirty="0"/>
              <a:t>her existing design however, she is worried that the final design will get blurry since the file format of the additional picture is .GIF.</a:t>
            </a:r>
          </a:p>
          <a:p>
            <a:pPr algn="just" fontAlgn="base"/>
            <a:endParaRPr lang="en-US" sz="2300" dirty="0"/>
          </a:p>
          <a:p>
            <a:pPr algn="just" fontAlgn="base"/>
            <a:r>
              <a:rPr lang="en-US" sz="2300" dirty="0"/>
              <a:t>What can you tell Courtney to ensure her that her order won’t come out blurry?</a:t>
            </a:r>
            <a:endParaRPr lang="de-DE" sz="2300" dirty="0"/>
          </a:p>
          <a:p>
            <a:pPr algn="just" fontAlgn="base"/>
            <a:r>
              <a:rPr lang="en-US" dirty="0"/>
              <a:t> </a:t>
            </a:r>
            <a:endParaRPr lang="de-DE" dirty="0"/>
          </a:p>
        </p:txBody>
      </p:sp>
      <p:sp>
        <p:nvSpPr>
          <p:cNvPr id="2" name="Rectangle 1">
            <a:extLst>
              <a:ext uri="{FF2B5EF4-FFF2-40B4-BE49-F238E27FC236}">
                <a16:creationId xmlns:a16="http://schemas.microsoft.com/office/drawing/2014/main" id="{44FD188D-1E7D-4D94-8550-068EBFF5A837}"/>
              </a:ext>
            </a:extLst>
          </p:cNvPr>
          <p:cNvSpPr/>
          <p:nvPr/>
        </p:nvSpPr>
        <p:spPr bwMode="auto">
          <a:xfrm>
            <a:off x="0" y="0"/>
            <a:ext cx="9144000" cy="6858000"/>
          </a:xfrm>
          <a:prstGeom prst="rect">
            <a:avLst/>
          </a:prstGeom>
          <a:noFill/>
          <a:ln w="127000" cap="flat">
            <a:solidFill>
              <a:schemeClr val="tx1"/>
            </a:solid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de-DE"/>
          </a:p>
        </p:txBody>
      </p:sp>
      <p:pic>
        <p:nvPicPr>
          <p:cNvPr id="5" name="Picture 4" descr="A picture containing person, woman, outdoor, clothing&#10;&#10;Description generated with very high confidence">
            <a:extLst>
              <a:ext uri="{FF2B5EF4-FFF2-40B4-BE49-F238E27FC236}">
                <a16:creationId xmlns:a16="http://schemas.microsoft.com/office/drawing/2014/main" id="{D432FC51-F142-4BD3-B0CA-89018BEE39D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57400" y="381001"/>
            <a:ext cx="4876799" cy="3657599"/>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D154816D-A629-45BB-8FE5-6C382CC0CBC4}"/>
              </a:ext>
            </a:extLst>
          </p:cNvPr>
          <p:cNvSpPr txBox="1"/>
          <p:nvPr/>
        </p:nvSpPr>
        <p:spPr>
          <a:xfrm>
            <a:off x="4644319" y="403218"/>
            <a:ext cx="2088052" cy="800219"/>
          </a:xfrm>
          <a:prstGeom prst="rect">
            <a:avLst/>
          </a:prstGeom>
          <a:noFill/>
        </p:spPr>
        <p:txBody>
          <a:bodyPr wrap="square" rtlCol="0">
            <a:spAutoFit/>
          </a:bodyPr>
          <a:lstStyle/>
          <a:p>
            <a:r>
              <a:rPr lang="en-US" sz="2800" b="1" dirty="0">
                <a:latin typeface="Arial Black" panose="020B0A04020102020204" pitchFamily="34" charset="0"/>
              </a:rPr>
              <a:t>Scenario</a:t>
            </a:r>
          </a:p>
          <a:p>
            <a:endParaRPr lang="en-US" dirty="0"/>
          </a:p>
        </p:txBody>
      </p:sp>
      <p:pic>
        <p:nvPicPr>
          <p:cNvPr id="8" name="Graphic 7">
            <a:extLst>
              <a:ext uri="{FF2B5EF4-FFF2-40B4-BE49-F238E27FC236}">
                <a16:creationId xmlns:a16="http://schemas.microsoft.com/office/drawing/2014/main" id="{3F0DD271-F7CB-408A-8F9D-A8D4A3D955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7014872">
            <a:off x="6490177" y="2516843"/>
            <a:ext cx="484388" cy="1523274"/>
          </a:xfrm>
          <a:prstGeom prst="rect">
            <a:avLst/>
          </a:prstGeom>
        </p:spPr>
      </p:pic>
      <p:pic>
        <p:nvPicPr>
          <p:cNvPr id="10" name="Graphic 9">
            <a:extLst>
              <a:ext uri="{FF2B5EF4-FFF2-40B4-BE49-F238E27FC236}">
                <a16:creationId xmlns:a16="http://schemas.microsoft.com/office/drawing/2014/main" id="{1605221C-85F1-4CF5-B83D-3408100A650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7187" y="661843"/>
            <a:ext cx="715613" cy="1547957"/>
          </a:xfrm>
          <a:prstGeom prst="rect">
            <a:avLst/>
          </a:prstGeom>
        </p:spPr>
      </p:pic>
    </p:spTree>
    <p:extLst>
      <p:ext uri="{BB962C8B-B14F-4D97-AF65-F5344CB8AC3E}">
        <p14:creationId xmlns:p14="http://schemas.microsoft.com/office/powerpoint/2010/main" val="3512667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street&#10;&#10;Description generated with high confidence">
            <a:extLst>
              <a:ext uri="{FF2B5EF4-FFF2-40B4-BE49-F238E27FC236}">
                <a16:creationId xmlns:a16="http://schemas.microsoft.com/office/drawing/2014/main" id="{C4062B18-4F8B-4C65-B28C-2D137614258F}"/>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314" y="15949"/>
            <a:ext cx="9144000" cy="6842051"/>
          </a:xfrm>
          <a:prstGeom prst="rect">
            <a:avLst/>
          </a:prstGeom>
        </p:spPr>
      </p:pic>
      <p:sp>
        <p:nvSpPr>
          <p:cNvPr id="4" name="Rectangle 3">
            <a:extLst>
              <a:ext uri="{FF2B5EF4-FFF2-40B4-BE49-F238E27FC236}">
                <a16:creationId xmlns:a16="http://schemas.microsoft.com/office/drawing/2014/main" id="{5E3512A3-AD99-4C4A-81B8-BCB7D9345763}"/>
              </a:ext>
            </a:extLst>
          </p:cNvPr>
          <p:cNvSpPr/>
          <p:nvPr/>
        </p:nvSpPr>
        <p:spPr bwMode="auto">
          <a:xfrm>
            <a:off x="304800" y="4038600"/>
            <a:ext cx="8534400" cy="2057400"/>
          </a:xfrm>
          <a:prstGeom prst="rect">
            <a:avLst/>
          </a:prstGeom>
          <a:no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just" fontAlgn="base"/>
            <a:endParaRPr lang="en-US" sz="2300" dirty="0"/>
          </a:p>
          <a:p>
            <a:pPr algn="just" fontAlgn="base"/>
            <a:r>
              <a:rPr lang="en-US" sz="2300" dirty="0"/>
              <a:t>Andrew wants to use an image that has a watermark on it and is curious if he could.</a:t>
            </a:r>
          </a:p>
          <a:p>
            <a:pPr algn="just" fontAlgn="base"/>
            <a:endParaRPr lang="en-US" sz="2300" dirty="0"/>
          </a:p>
          <a:p>
            <a:pPr algn="just" fontAlgn="base"/>
            <a:r>
              <a:rPr lang="en-US" sz="2300" dirty="0"/>
              <a:t>What do you tell Andrew?</a:t>
            </a:r>
            <a:endParaRPr lang="de-DE" dirty="0"/>
          </a:p>
        </p:txBody>
      </p:sp>
      <p:sp>
        <p:nvSpPr>
          <p:cNvPr id="2" name="Rectangle 1">
            <a:extLst>
              <a:ext uri="{FF2B5EF4-FFF2-40B4-BE49-F238E27FC236}">
                <a16:creationId xmlns:a16="http://schemas.microsoft.com/office/drawing/2014/main" id="{44FD188D-1E7D-4D94-8550-068EBFF5A837}"/>
              </a:ext>
            </a:extLst>
          </p:cNvPr>
          <p:cNvSpPr/>
          <p:nvPr/>
        </p:nvSpPr>
        <p:spPr bwMode="auto">
          <a:xfrm>
            <a:off x="0" y="0"/>
            <a:ext cx="9144000" cy="6858000"/>
          </a:xfrm>
          <a:prstGeom prst="rect">
            <a:avLst/>
          </a:prstGeom>
          <a:noFill/>
          <a:ln w="127000" cap="flat">
            <a:solidFill>
              <a:schemeClr val="tx1"/>
            </a:solid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de-DE"/>
          </a:p>
        </p:txBody>
      </p:sp>
      <p:pic>
        <p:nvPicPr>
          <p:cNvPr id="9" name="Picture 8" descr="A person talking on a cell phone&#10;&#10;Description generated with high confidence">
            <a:extLst>
              <a:ext uri="{FF2B5EF4-FFF2-40B4-BE49-F238E27FC236}">
                <a16:creationId xmlns:a16="http://schemas.microsoft.com/office/drawing/2014/main" id="{247CB0A1-B0AA-432E-B3B4-03318B5D4294}"/>
              </a:ext>
            </a:extLst>
          </p:cNvPr>
          <p:cNvPicPr>
            <a:picLocks noChangeAspect="1"/>
          </p:cNvPicPr>
          <p:nvPr/>
        </p:nvPicPr>
        <p:blipFill>
          <a:blip r:embed="rId5" cstate="print">
            <a:extLst>
              <a:ext uri="{BEBA8EAE-BF5A-486C-A8C5-ECC9F3942E4B}">
                <a14:imgProps xmlns:a14="http://schemas.microsoft.com/office/drawing/2010/main">
                  <a14:imgLayer r:embed="rId6">
                    <a14:imgEffect>
                      <a14:colorTemperature colorTemp="8800"/>
                    </a14:imgEffect>
                  </a14:imgLayer>
                </a14:imgProps>
              </a:ext>
              <a:ext uri="{28A0092B-C50C-407E-A947-70E740481C1C}">
                <a14:useLocalDpi xmlns:a14="http://schemas.microsoft.com/office/drawing/2010/main" val="0"/>
              </a:ext>
            </a:extLst>
          </a:blip>
          <a:stretch>
            <a:fillRect/>
          </a:stretch>
        </p:blipFill>
        <p:spPr>
          <a:xfrm>
            <a:off x="2064323" y="15949"/>
            <a:ext cx="4944782" cy="3708587"/>
          </a:xfrm>
          <a:prstGeom prst="rect">
            <a:avLst/>
          </a:prstGeom>
          <a:ln>
            <a:noFill/>
          </a:ln>
          <a:effectLst>
            <a:outerShdw blurRad="190500" algn="tl" rotWithShape="0">
              <a:srgbClr val="000000">
                <a:alpha val="70000"/>
              </a:srgbClr>
            </a:outerShdw>
          </a:effectLst>
        </p:spPr>
      </p:pic>
      <p:sp>
        <p:nvSpPr>
          <p:cNvPr id="7" name="TextBox 6">
            <a:extLst>
              <a:ext uri="{FF2B5EF4-FFF2-40B4-BE49-F238E27FC236}">
                <a16:creationId xmlns:a16="http://schemas.microsoft.com/office/drawing/2014/main" id="{95716636-E9BF-4C97-950D-3EADAC6CF175}"/>
              </a:ext>
            </a:extLst>
          </p:cNvPr>
          <p:cNvSpPr txBox="1"/>
          <p:nvPr/>
        </p:nvSpPr>
        <p:spPr>
          <a:xfrm>
            <a:off x="4480697" y="597598"/>
            <a:ext cx="1969023" cy="800219"/>
          </a:xfrm>
          <a:prstGeom prst="rect">
            <a:avLst/>
          </a:prstGeom>
          <a:noFill/>
        </p:spPr>
        <p:txBody>
          <a:bodyPr wrap="square" rtlCol="0">
            <a:spAutoFit/>
          </a:bodyPr>
          <a:lstStyle/>
          <a:p>
            <a:r>
              <a:rPr lang="en-US" sz="2800" b="1" dirty="0">
                <a:latin typeface="Arial Black" panose="020B0A04020102020204" pitchFamily="34" charset="0"/>
              </a:rPr>
              <a:t>Scenario</a:t>
            </a:r>
          </a:p>
          <a:p>
            <a:endParaRPr lang="en-US" dirty="0"/>
          </a:p>
        </p:txBody>
      </p:sp>
      <p:pic>
        <p:nvPicPr>
          <p:cNvPr id="8" name="Graphic 7">
            <a:extLst>
              <a:ext uri="{FF2B5EF4-FFF2-40B4-BE49-F238E27FC236}">
                <a16:creationId xmlns:a16="http://schemas.microsoft.com/office/drawing/2014/main" id="{7CD21924-FBF1-4DC1-9BE2-CEF4AF70848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735288">
            <a:off x="2179157" y="1798053"/>
            <a:ext cx="638928" cy="1884434"/>
          </a:xfrm>
          <a:prstGeom prst="rect">
            <a:avLst/>
          </a:prstGeom>
        </p:spPr>
      </p:pic>
      <p:pic>
        <p:nvPicPr>
          <p:cNvPr id="12" name="Graphic 11">
            <a:extLst>
              <a:ext uri="{FF2B5EF4-FFF2-40B4-BE49-F238E27FC236}">
                <a16:creationId xmlns:a16="http://schemas.microsoft.com/office/drawing/2014/main" id="{47424324-D92F-4255-835F-61FC250CA8F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49721" y="747316"/>
            <a:ext cx="766886" cy="1307402"/>
          </a:xfrm>
          <a:prstGeom prst="rect">
            <a:avLst/>
          </a:prstGeom>
        </p:spPr>
      </p:pic>
    </p:spTree>
    <p:extLst>
      <p:ext uri="{BB962C8B-B14F-4D97-AF65-F5344CB8AC3E}">
        <p14:creationId xmlns:p14="http://schemas.microsoft.com/office/powerpoint/2010/main" val="4019814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street&#10;&#10;Description generated with high confidence">
            <a:extLst>
              <a:ext uri="{FF2B5EF4-FFF2-40B4-BE49-F238E27FC236}">
                <a16:creationId xmlns:a16="http://schemas.microsoft.com/office/drawing/2014/main" id="{EB0C08CE-D848-4F37-8A58-490D3E285DD8}"/>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314" y="15948"/>
            <a:ext cx="9144000" cy="6842051"/>
          </a:xfrm>
          <a:prstGeom prst="rect">
            <a:avLst/>
          </a:prstGeom>
        </p:spPr>
      </p:pic>
      <p:sp>
        <p:nvSpPr>
          <p:cNvPr id="4" name="Rectangle 3">
            <a:extLst>
              <a:ext uri="{FF2B5EF4-FFF2-40B4-BE49-F238E27FC236}">
                <a16:creationId xmlns:a16="http://schemas.microsoft.com/office/drawing/2014/main" id="{5E3512A3-AD99-4C4A-81B8-BCB7D9345763}"/>
              </a:ext>
            </a:extLst>
          </p:cNvPr>
          <p:cNvSpPr/>
          <p:nvPr/>
        </p:nvSpPr>
        <p:spPr bwMode="auto">
          <a:xfrm>
            <a:off x="303486" y="4572000"/>
            <a:ext cx="8534400" cy="2286000"/>
          </a:xfrm>
          <a:prstGeom prst="rect">
            <a:avLst/>
          </a:prstGeom>
          <a:no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just" fontAlgn="base"/>
            <a:r>
              <a:rPr lang="en-US" sz="2300" dirty="0"/>
              <a:t>Kevin Marco is calling to inquire about our Design Services. </a:t>
            </a:r>
          </a:p>
          <a:p>
            <a:pPr algn="just" fontAlgn="base"/>
            <a:endParaRPr lang="en-US" sz="2300" dirty="0"/>
          </a:p>
          <a:p>
            <a:pPr algn="just" fontAlgn="base"/>
            <a:r>
              <a:rPr lang="en-US" sz="2300" dirty="0"/>
              <a:t>What do you tell him?</a:t>
            </a:r>
            <a:endParaRPr lang="de-DE" dirty="0"/>
          </a:p>
        </p:txBody>
      </p:sp>
      <p:sp>
        <p:nvSpPr>
          <p:cNvPr id="2" name="Rectangle 1">
            <a:extLst>
              <a:ext uri="{FF2B5EF4-FFF2-40B4-BE49-F238E27FC236}">
                <a16:creationId xmlns:a16="http://schemas.microsoft.com/office/drawing/2014/main" id="{44FD188D-1E7D-4D94-8550-068EBFF5A837}"/>
              </a:ext>
            </a:extLst>
          </p:cNvPr>
          <p:cNvSpPr/>
          <p:nvPr/>
        </p:nvSpPr>
        <p:spPr bwMode="auto">
          <a:xfrm>
            <a:off x="0" y="0"/>
            <a:ext cx="9144000" cy="6858000"/>
          </a:xfrm>
          <a:prstGeom prst="rect">
            <a:avLst/>
          </a:prstGeom>
          <a:noFill/>
          <a:ln w="127000" cap="flat">
            <a:solidFill>
              <a:schemeClr val="tx1"/>
            </a:solid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de-DE"/>
          </a:p>
        </p:txBody>
      </p:sp>
      <p:pic>
        <p:nvPicPr>
          <p:cNvPr id="11" name="Picture 10" descr="A person smiling for the camera&#10;&#10;Description generated with very high confidence">
            <a:extLst>
              <a:ext uri="{FF2B5EF4-FFF2-40B4-BE49-F238E27FC236}">
                <a16:creationId xmlns:a16="http://schemas.microsoft.com/office/drawing/2014/main" id="{81DAC9D3-881F-4376-8FBB-35AB53C76411}"/>
              </a:ext>
            </a:extLst>
          </p:cNvPr>
          <p:cNvPicPr>
            <a:picLocks noChangeAspect="1"/>
          </p:cNvPicPr>
          <p:nvPr/>
        </p:nvPicPr>
        <p:blipFill>
          <a:blip r:embed="rId5">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val="0"/>
              </a:ext>
            </a:extLst>
          </a:blip>
          <a:stretch>
            <a:fillRect/>
          </a:stretch>
        </p:blipFill>
        <p:spPr>
          <a:xfrm>
            <a:off x="2530340" y="618394"/>
            <a:ext cx="4333003" cy="3267806"/>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A5D4F9C8-A55A-4D01-8F36-C57048B3E038}"/>
              </a:ext>
            </a:extLst>
          </p:cNvPr>
          <p:cNvSpPr txBox="1"/>
          <p:nvPr/>
        </p:nvSpPr>
        <p:spPr>
          <a:xfrm>
            <a:off x="1672515" y="901929"/>
            <a:ext cx="2088052" cy="800219"/>
          </a:xfrm>
          <a:prstGeom prst="rect">
            <a:avLst/>
          </a:prstGeom>
          <a:noFill/>
        </p:spPr>
        <p:txBody>
          <a:bodyPr wrap="square" rtlCol="0">
            <a:spAutoFit/>
          </a:bodyPr>
          <a:lstStyle/>
          <a:p>
            <a:r>
              <a:rPr lang="en-US" sz="2800" b="1" dirty="0">
                <a:latin typeface="Arial Black" panose="020B0A04020102020204" pitchFamily="34" charset="0"/>
              </a:rPr>
              <a:t>Scenario</a:t>
            </a:r>
          </a:p>
          <a:p>
            <a:endParaRPr lang="en-US" dirty="0"/>
          </a:p>
        </p:txBody>
      </p:sp>
      <p:pic>
        <p:nvPicPr>
          <p:cNvPr id="8" name="Graphic 7">
            <a:extLst>
              <a:ext uri="{FF2B5EF4-FFF2-40B4-BE49-F238E27FC236}">
                <a16:creationId xmlns:a16="http://schemas.microsoft.com/office/drawing/2014/main" id="{795D9C0E-C2BC-42F2-9C17-E98707BA2A4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3453773">
            <a:off x="6300292" y="2363338"/>
            <a:ext cx="484388" cy="1523274"/>
          </a:xfrm>
          <a:prstGeom prst="rect">
            <a:avLst/>
          </a:prstGeom>
        </p:spPr>
      </p:pic>
      <p:pic>
        <p:nvPicPr>
          <p:cNvPr id="13" name="Graphic 12">
            <a:extLst>
              <a:ext uri="{FF2B5EF4-FFF2-40B4-BE49-F238E27FC236}">
                <a16:creationId xmlns:a16="http://schemas.microsoft.com/office/drawing/2014/main" id="{96F93ABE-F72E-4A02-8C25-8A31360534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52800" y="901929"/>
            <a:ext cx="953810" cy="1392865"/>
          </a:xfrm>
          <a:prstGeom prst="rect">
            <a:avLst/>
          </a:prstGeom>
        </p:spPr>
      </p:pic>
    </p:spTree>
    <p:extLst>
      <p:ext uri="{BB962C8B-B14F-4D97-AF65-F5344CB8AC3E}">
        <p14:creationId xmlns:p14="http://schemas.microsoft.com/office/powerpoint/2010/main" val="200011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street&#10;&#10;Description generated with high confidence">
            <a:extLst>
              <a:ext uri="{FF2B5EF4-FFF2-40B4-BE49-F238E27FC236}">
                <a16:creationId xmlns:a16="http://schemas.microsoft.com/office/drawing/2014/main" id="{7F8D7646-779F-4EC5-8740-55737C94E1A1}"/>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314" y="15949"/>
            <a:ext cx="9144000" cy="6842051"/>
          </a:xfrm>
          <a:prstGeom prst="rect">
            <a:avLst/>
          </a:prstGeom>
        </p:spPr>
      </p:pic>
      <p:sp>
        <p:nvSpPr>
          <p:cNvPr id="4" name="Rectangle 3">
            <a:extLst>
              <a:ext uri="{FF2B5EF4-FFF2-40B4-BE49-F238E27FC236}">
                <a16:creationId xmlns:a16="http://schemas.microsoft.com/office/drawing/2014/main" id="{5E3512A3-AD99-4C4A-81B8-BCB7D9345763}"/>
              </a:ext>
            </a:extLst>
          </p:cNvPr>
          <p:cNvSpPr/>
          <p:nvPr/>
        </p:nvSpPr>
        <p:spPr bwMode="auto">
          <a:xfrm>
            <a:off x="189186" y="4267200"/>
            <a:ext cx="8763000" cy="1905000"/>
          </a:xfrm>
          <a:prstGeom prst="rect">
            <a:avLst/>
          </a:prstGeom>
          <a:no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just" fontAlgn="base"/>
            <a:endParaRPr lang="en-US" sz="2300" b="1" dirty="0"/>
          </a:p>
          <a:p>
            <a:pPr algn="just" fontAlgn="base"/>
            <a:r>
              <a:rPr lang="en-US" sz="2300" dirty="0"/>
              <a:t>Kimberly wants to know the difference between CMYK and RGB.</a:t>
            </a:r>
          </a:p>
          <a:p>
            <a:pPr algn="just" fontAlgn="base"/>
            <a:endParaRPr lang="en-US" sz="2300" dirty="0"/>
          </a:p>
          <a:p>
            <a:pPr algn="just" fontAlgn="base"/>
            <a:r>
              <a:rPr lang="en-US" sz="2300" dirty="0"/>
              <a:t>What do you tell Rihanna?</a:t>
            </a:r>
            <a:endParaRPr lang="de-DE" sz="2300" dirty="0"/>
          </a:p>
          <a:p>
            <a:pPr algn="just" fontAlgn="base"/>
            <a:endParaRPr lang="de-DE" dirty="0"/>
          </a:p>
        </p:txBody>
      </p:sp>
      <p:sp>
        <p:nvSpPr>
          <p:cNvPr id="2" name="Rectangle 1">
            <a:extLst>
              <a:ext uri="{FF2B5EF4-FFF2-40B4-BE49-F238E27FC236}">
                <a16:creationId xmlns:a16="http://schemas.microsoft.com/office/drawing/2014/main" id="{44FD188D-1E7D-4D94-8550-068EBFF5A837}"/>
              </a:ext>
            </a:extLst>
          </p:cNvPr>
          <p:cNvSpPr/>
          <p:nvPr/>
        </p:nvSpPr>
        <p:spPr bwMode="auto">
          <a:xfrm>
            <a:off x="0" y="0"/>
            <a:ext cx="9144000" cy="6858000"/>
          </a:xfrm>
          <a:prstGeom prst="rect">
            <a:avLst/>
          </a:prstGeom>
          <a:noFill/>
          <a:ln w="127000" cap="flat">
            <a:solidFill>
              <a:schemeClr val="tx1"/>
            </a:solid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de-DE"/>
          </a:p>
        </p:txBody>
      </p:sp>
      <p:pic>
        <p:nvPicPr>
          <p:cNvPr id="8" name="Picture 7" descr="A person talking on a cell phone&#10;&#10;Description generated with high confidence">
            <a:extLst>
              <a:ext uri="{FF2B5EF4-FFF2-40B4-BE49-F238E27FC236}">
                <a16:creationId xmlns:a16="http://schemas.microsoft.com/office/drawing/2014/main" id="{589A70D9-86D1-4514-B484-02D0B94C15FD}"/>
              </a:ext>
            </a:extLst>
          </p:cNvPr>
          <p:cNvPicPr>
            <a:picLocks noChangeAspect="1"/>
          </p:cNvPicPr>
          <p:nvPr/>
        </p:nvPicPr>
        <p:blipFill>
          <a:blip r:embed="rId5" cstate="print">
            <a:extLst>
              <a:ext uri="{BEBA8EAE-BF5A-486C-A8C5-ECC9F3942E4B}">
                <a14:imgProps xmlns:a14="http://schemas.microsoft.com/office/drawing/2010/main">
                  <a14:imgLayer r:embed="rId6">
                    <a14:imgEffect>
                      <a14:colorTemperature colorTemp="8800"/>
                    </a14:imgEffect>
                  </a14:imgLayer>
                </a14:imgProps>
              </a:ext>
              <a:ext uri="{28A0092B-C50C-407E-A947-70E740481C1C}">
                <a14:useLocalDpi xmlns:a14="http://schemas.microsoft.com/office/drawing/2010/main" val="0"/>
              </a:ext>
            </a:extLst>
          </a:blip>
          <a:stretch>
            <a:fillRect/>
          </a:stretch>
        </p:blipFill>
        <p:spPr>
          <a:xfrm>
            <a:off x="2236839" y="381000"/>
            <a:ext cx="4667693" cy="3622129"/>
          </a:xfrm>
          <a:prstGeom prst="rect">
            <a:avLst/>
          </a:prstGeom>
          <a:ln>
            <a:noFill/>
          </a:ln>
          <a:effectLst>
            <a:outerShdw blurRad="292100" dist="139700" dir="2700000" algn="tl" rotWithShape="0">
              <a:srgbClr val="333333">
                <a:alpha val="65000"/>
              </a:srgbClr>
            </a:outerShdw>
          </a:effectLst>
        </p:spPr>
      </p:pic>
      <p:sp>
        <p:nvSpPr>
          <p:cNvPr id="6" name="TextBox 5">
            <a:extLst>
              <a:ext uri="{FF2B5EF4-FFF2-40B4-BE49-F238E27FC236}">
                <a16:creationId xmlns:a16="http://schemas.microsoft.com/office/drawing/2014/main" id="{DDB24786-0D80-4809-A423-62BB4F03B218}"/>
              </a:ext>
            </a:extLst>
          </p:cNvPr>
          <p:cNvSpPr txBox="1"/>
          <p:nvPr/>
        </p:nvSpPr>
        <p:spPr>
          <a:xfrm>
            <a:off x="2235525" y="625184"/>
            <a:ext cx="1969023" cy="800219"/>
          </a:xfrm>
          <a:prstGeom prst="rect">
            <a:avLst/>
          </a:prstGeom>
          <a:noFill/>
        </p:spPr>
        <p:txBody>
          <a:bodyPr wrap="square" rtlCol="0">
            <a:spAutoFit/>
          </a:bodyPr>
          <a:lstStyle/>
          <a:p>
            <a:r>
              <a:rPr lang="en-US" sz="2800" b="1" dirty="0">
                <a:latin typeface="Arial Black" panose="020B0A04020102020204" pitchFamily="34" charset="0"/>
              </a:rPr>
              <a:t>Scenario</a:t>
            </a:r>
          </a:p>
          <a:p>
            <a:endParaRPr lang="en-US" dirty="0"/>
          </a:p>
        </p:txBody>
      </p:sp>
      <p:pic>
        <p:nvPicPr>
          <p:cNvPr id="7" name="Graphic 6">
            <a:extLst>
              <a:ext uri="{FF2B5EF4-FFF2-40B4-BE49-F238E27FC236}">
                <a16:creationId xmlns:a16="http://schemas.microsoft.com/office/drawing/2014/main" id="{EA89FCB9-62AB-4ADF-B5C5-457CFB08CCD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4065568">
            <a:off x="6312371" y="1796356"/>
            <a:ext cx="638928" cy="1884434"/>
          </a:xfrm>
          <a:prstGeom prst="rect">
            <a:avLst/>
          </a:prstGeom>
        </p:spPr>
      </p:pic>
      <p:pic>
        <p:nvPicPr>
          <p:cNvPr id="10" name="Graphic 9">
            <a:extLst>
              <a:ext uri="{FF2B5EF4-FFF2-40B4-BE49-F238E27FC236}">
                <a16:creationId xmlns:a16="http://schemas.microsoft.com/office/drawing/2014/main" id="{DFF3EEED-2B50-4119-8808-BA29FABBA19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76400" y="1253588"/>
            <a:ext cx="866366" cy="1304644"/>
          </a:xfrm>
          <a:prstGeom prst="rect">
            <a:avLst/>
          </a:prstGeom>
        </p:spPr>
      </p:pic>
    </p:spTree>
    <p:extLst>
      <p:ext uri="{BB962C8B-B14F-4D97-AF65-F5344CB8AC3E}">
        <p14:creationId xmlns:p14="http://schemas.microsoft.com/office/powerpoint/2010/main" val="36040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street&#10;&#10;Description generated with high confidence">
            <a:extLst>
              <a:ext uri="{FF2B5EF4-FFF2-40B4-BE49-F238E27FC236}">
                <a16:creationId xmlns:a16="http://schemas.microsoft.com/office/drawing/2014/main" id="{FA4DC78F-A484-4C7C-9B47-C969362C6624}"/>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314" y="15948"/>
            <a:ext cx="9144000" cy="6842051"/>
          </a:xfrm>
          <a:prstGeom prst="rect">
            <a:avLst/>
          </a:prstGeom>
        </p:spPr>
      </p:pic>
      <p:sp>
        <p:nvSpPr>
          <p:cNvPr id="4" name="Rectangle 3">
            <a:extLst>
              <a:ext uri="{FF2B5EF4-FFF2-40B4-BE49-F238E27FC236}">
                <a16:creationId xmlns:a16="http://schemas.microsoft.com/office/drawing/2014/main" id="{5E3512A3-AD99-4C4A-81B8-BCB7D9345763}"/>
              </a:ext>
            </a:extLst>
          </p:cNvPr>
          <p:cNvSpPr/>
          <p:nvPr/>
        </p:nvSpPr>
        <p:spPr bwMode="auto">
          <a:xfrm>
            <a:off x="323193" y="4191000"/>
            <a:ext cx="8494986" cy="2057400"/>
          </a:xfrm>
          <a:prstGeom prst="rect">
            <a:avLst/>
          </a:prstGeom>
          <a:noFill/>
          <a:ln w="6350" cap="flat">
            <a:noFill/>
            <a:prstDash val="solid"/>
            <a:miter lim="800000"/>
            <a:headEnd/>
            <a:tailEnd/>
          </a:ln>
          <a:extLst/>
        </p:spPr>
        <p:txBody>
          <a:bodyPr vert="horz" wrap="square" lIns="91440" tIns="45720" rIns="91440" bIns="45720" numCol="1" rtlCol="0" anchor="t" anchorCtr="0" compatLnSpc="1">
            <a:prstTxWarp prst="textNoShape">
              <a:avLst/>
            </a:prstTxWarp>
          </a:bodyPr>
          <a:lstStyle/>
          <a:p>
            <a:pPr algn="just" fontAlgn="base"/>
            <a:r>
              <a:rPr lang="en-US" sz="2300" dirty="0"/>
              <a:t>Kathy has just received her order of Letterheads. However, she noticed that the product was cut wrong and her design was everywhere on the product. Looking on our website, the design seems to be fine.</a:t>
            </a:r>
          </a:p>
          <a:p>
            <a:pPr algn="just" fontAlgn="base"/>
            <a:endParaRPr lang="en-US" sz="2300" dirty="0"/>
          </a:p>
          <a:p>
            <a:pPr algn="just" fontAlgn="base"/>
            <a:r>
              <a:rPr lang="en-US" sz="2300" dirty="0"/>
              <a:t>What do you do to help Kathy?</a:t>
            </a:r>
            <a:endParaRPr lang="de-DE" sz="2300" dirty="0"/>
          </a:p>
          <a:p>
            <a:pPr algn="just" fontAlgn="base"/>
            <a:endParaRPr lang="de-DE" dirty="0"/>
          </a:p>
        </p:txBody>
      </p:sp>
      <p:sp>
        <p:nvSpPr>
          <p:cNvPr id="2" name="Rectangle 1">
            <a:extLst>
              <a:ext uri="{FF2B5EF4-FFF2-40B4-BE49-F238E27FC236}">
                <a16:creationId xmlns:a16="http://schemas.microsoft.com/office/drawing/2014/main" id="{44FD188D-1E7D-4D94-8550-068EBFF5A837}"/>
              </a:ext>
            </a:extLst>
          </p:cNvPr>
          <p:cNvSpPr/>
          <p:nvPr/>
        </p:nvSpPr>
        <p:spPr bwMode="auto">
          <a:xfrm>
            <a:off x="0" y="0"/>
            <a:ext cx="9144000" cy="6858000"/>
          </a:xfrm>
          <a:prstGeom prst="rect">
            <a:avLst/>
          </a:prstGeom>
          <a:noFill/>
          <a:ln w="127000" cap="flat">
            <a:solidFill>
              <a:schemeClr val="tx1"/>
            </a:solidFill>
            <a:prstDash val="solid"/>
            <a:miter lim="800000"/>
            <a:headEnd/>
            <a:tailEnd/>
          </a:ln>
          <a:extLst/>
        </p:spPr>
        <p:txBody>
          <a:bodyPr vert="horz" wrap="square" lIns="91440" tIns="45720" rIns="91440" bIns="45720" numCol="1" rtlCol="0" anchor="t" anchorCtr="0" compatLnSpc="1">
            <a:prstTxWarp prst="textNoShape">
              <a:avLst/>
            </a:prstTxWarp>
          </a:bodyPr>
          <a:lstStyle/>
          <a:p>
            <a:pPr algn="ctr"/>
            <a:endParaRPr lang="de-DE"/>
          </a:p>
        </p:txBody>
      </p:sp>
      <p:pic>
        <p:nvPicPr>
          <p:cNvPr id="8" name="Picture 7" descr="A person sitting at a table with a computer and smiling at the camera&#10;&#10;Description generated with high confidence">
            <a:extLst>
              <a:ext uri="{FF2B5EF4-FFF2-40B4-BE49-F238E27FC236}">
                <a16:creationId xmlns:a16="http://schemas.microsoft.com/office/drawing/2014/main" id="{D72EA5D7-87DF-4DB2-82C7-680FA70760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05000" y="152400"/>
            <a:ext cx="4979399" cy="3679629"/>
          </a:xfrm>
          <a:prstGeom prst="rect">
            <a:avLst/>
          </a:prstGeom>
          <a:ln>
            <a:noFill/>
          </a:ln>
          <a:effectLst>
            <a:outerShdw blurRad="292100" dist="139700" dir="2700000" algn="tl" rotWithShape="0">
              <a:srgbClr val="333333">
                <a:alpha val="65000"/>
              </a:srgbClr>
            </a:outerShdw>
          </a:effectLst>
        </p:spPr>
      </p:pic>
      <p:pic>
        <p:nvPicPr>
          <p:cNvPr id="7" name="Graphic 6">
            <a:extLst>
              <a:ext uri="{FF2B5EF4-FFF2-40B4-BE49-F238E27FC236}">
                <a16:creationId xmlns:a16="http://schemas.microsoft.com/office/drawing/2014/main" id="{F0A21D1F-4CA7-4E2B-A52D-C432A7BA117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6378293">
            <a:off x="6348008" y="2553565"/>
            <a:ext cx="484388" cy="1523274"/>
          </a:xfrm>
          <a:prstGeom prst="rect">
            <a:avLst/>
          </a:prstGeom>
        </p:spPr>
      </p:pic>
      <p:sp>
        <p:nvSpPr>
          <p:cNvPr id="6" name="TextBox 5">
            <a:extLst>
              <a:ext uri="{FF2B5EF4-FFF2-40B4-BE49-F238E27FC236}">
                <a16:creationId xmlns:a16="http://schemas.microsoft.com/office/drawing/2014/main" id="{EA3B9623-F1CE-430A-B0F5-EDCBD2BBD41B}"/>
              </a:ext>
            </a:extLst>
          </p:cNvPr>
          <p:cNvSpPr txBox="1"/>
          <p:nvPr/>
        </p:nvSpPr>
        <p:spPr>
          <a:xfrm>
            <a:off x="4191000" y="494798"/>
            <a:ext cx="2088052" cy="800219"/>
          </a:xfrm>
          <a:prstGeom prst="rect">
            <a:avLst/>
          </a:prstGeom>
          <a:noFill/>
        </p:spPr>
        <p:txBody>
          <a:bodyPr wrap="square" rtlCol="0">
            <a:spAutoFit/>
          </a:bodyPr>
          <a:lstStyle/>
          <a:p>
            <a:r>
              <a:rPr lang="en-US" sz="2800" b="1" dirty="0">
                <a:latin typeface="Arial Black" panose="020B0A04020102020204" pitchFamily="34" charset="0"/>
              </a:rPr>
              <a:t>Scenario</a:t>
            </a:r>
          </a:p>
          <a:p>
            <a:endParaRPr lang="en-US" dirty="0"/>
          </a:p>
        </p:txBody>
      </p:sp>
      <p:pic>
        <p:nvPicPr>
          <p:cNvPr id="10" name="Graphic 9">
            <a:extLst>
              <a:ext uri="{FF2B5EF4-FFF2-40B4-BE49-F238E27FC236}">
                <a16:creationId xmlns:a16="http://schemas.microsoft.com/office/drawing/2014/main" id="{D32EF026-1F77-4A86-8B27-68FC06770ED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51316" y="661183"/>
            <a:ext cx="785485" cy="1314081"/>
          </a:xfrm>
          <a:prstGeom prst="rect">
            <a:avLst/>
          </a:prstGeom>
        </p:spPr>
      </p:pic>
    </p:spTree>
    <p:extLst>
      <p:ext uri="{BB962C8B-B14F-4D97-AF65-F5344CB8AC3E}">
        <p14:creationId xmlns:p14="http://schemas.microsoft.com/office/powerpoint/2010/main" val="312130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_vlLqoW5YE6mJJ1kxE8Bh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m2ArEy7O4kCTKR7VLUBsfQ"/>
</p:tagLst>
</file>

<file path=ppt/theme/theme1.xml><?xml version="1.0" encoding="utf-8"?>
<a:theme xmlns:a="http://schemas.openxmlformats.org/drawingml/2006/main" name="Default Theme">
  <a:themeElements>
    <a:clrScheme name="Vistaprint Blue">
      <a:dk1>
        <a:srgbClr val="38454F"/>
      </a:dk1>
      <a:lt1>
        <a:sysClr val="window" lastClr="FFFFFF"/>
      </a:lt1>
      <a:dk2>
        <a:srgbClr val="006196"/>
      </a:dk2>
      <a:lt2>
        <a:srgbClr val="6ECFF5"/>
      </a:lt2>
      <a:accent1>
        <a:srgbClr val="2BA8E0"/>
      </a:accent1>
      <a:accent2>
        <a:srgbClr val="006196"/>
      </a:accent2>
      <a:accent3>
        <a:srgbClr val="00A34A"/>
      </a:accent3>
      <a:accent4>
        <a:srgbClr val="66DB2B"/>
      </a:accent4>
      <a:accent5>
        <a:srgbClr val="FFC200"/>
      </a:accent5>
      <a:accent6>
        <a:srgbClr val="FF8200"/>
      </a:accent6>
      <a:hlink>
        <a:srgbClr val="6E0A96"/>
      </a:hlink>
      <a:folHlink>
        <a:srgbClr val="38454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6350" cap="flat">
          <a:noFill/>
          <a:prstDash val="solid"/>
          <a:miter lim="800000"/>
          <a:headEnd/>
          <a:tailEnd/>
        </a:ln>
        <a:extLst/>
      </a:spPr>
      <a:bodyPr vert="horz" wrap="square" lIns="91440" tIns="45720" rIns="91440" bIns="45720" numCol="1" rtlCol="0" anchor="t" anchorCtr="0" compatLnSpc="1">
        <a:prstTxWarp prst="textNoShape">
          <a:avLst/>
        </a:prstTxWarp>
      </a:bodyPr>
      <a:lstStyle>
        <a:defPPr algn="ctr">
          <a:defRPr/>
        </a:defPPr>
      </a:lstStyle>
    </a:spDef>
    <a:txDef>
      <a:spPr>
        <a:solidFill>
          <a:schemeClr val="accent2"/>
        </a:solidFill>
      </a:spPr>
      <a:bodyPr vert="horz" lIns="45720" tIns="45720" rIns="45720" bIns="45720" rtlCol="0" anchor="ctr">
        <a:noAutofit/>
      </a:bodyPr>
      <a:lstStyle>
        <a:defPPr>
          <a:defRPr dirty="0"/>
        </a:defPPr>
      </a:lstStyle>
    </a:txDef>
  </a:objectDefaults>
  <a:extraClrSchemeLst/>
</a:theme>
</file>

<file path=ppt/theme/theme2.xml><?xml version="1.0" encoding="utf-8"?>
<a:theme xmlns:a="http://schemas.openxmlformats.org/drawingml/2006/main" name="Orange Palette">
  <a:themeElements>
    <a:clrScheme name="Vistaprint Orange">
      <a:dk1>
        <a:srgbClr val="38454F"/>
      </a:dk1>
      <a:lt1>
        <a:sysClr val="window" lastClr="FFFFFF"/>
      </a:lt1>
      <a:dk2>
        <a:srgbClr val="FF4F00"/>
      </a:dk2>
      <a:lt2>
        <a:srgbClr val="FFC200"/>
      </a:lt2>
      <a:accent1>
        <a:srgbClr val="FF8200"/>
      </a:accent1>
      <a:accent2>
        <a:srgbClr val="FF4F00"/>
      </a:accent2>
      <a:accent3>
        <a:srgbClr val="E00808"/>
      </a:accent3>
      <a:accent4>
        <a:srgbClr val="A10524"/>
      </a:accent4>
      <a:accent5>
        <a:srgbClr val="6E0A96"/>
      </a:accent5>
      <a:accent6>
        <a:srgbClr val="2BA8E0"/>
      </a:accent6>
      <a:hlink>
        <a:srgbClr val="006196"/>
      </a:hlink>
      <a:folHlink>
        <a:srgbClr val="38454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6350" cap="flat">
          <a:noFill/>
          <a:prstDash val="solid"/>
          <a:miter lim="800000"/>
          <a:headEnd/>
          <a:tailEnd/>
        </a:ln>
        <a:extLst/>
      </a:spPr>
      <a:bodyPr vert="horz" wrap="square" lIns="91440" tIns="45720" rIns="91440" bIns="45720" numCol="1" rtlCol="0" anchor="t" anchorCtr="0" compatLnSpc="1">
        <a:prstTxWarp prst="textNoShape">
          <a:avLst/>
        </a:prstTxWarp>
      </a:bodyPr>
      <a:lstStyle>
        <a:defPPr algn="ctr">
          <a:defRPr/>
        </a:defPPr>
      </a:lstStyle>
    </a:spDef>
    <a:txDef>
      <a:spPr>
        <a:solidFill>
          <a:schemeClr val="accent2"/>
        </a:solidFill>
      </a:spPr>
      <a:bodyPr vert="horz" lIns="45720" tIns="45720" rIns="45720" bIns="45720" rtlCol="0" anchor="ctr">
        <a:noAutofit/>
      </a:bodyPr>
      <a:lstStyle>
        <a:defPPr>
          <a:defRPr dirty="0"/>
        </a:defPPr>
      </a:lstStyle>
    </a:txDef>
  </a:objectDefaults>
  <a:extraClrSchemeLst/>
</a:theme>
</file>

<file path=ppt/theme/theme3.xml><?xml version="1.0" encoding="utf-8"?>
<a:theme xmlns:a="http://schemas.openxmlformats.org/drawingml/2006/main" name="Green Palette">
  <a:themeElements>
    <a:clrScheme name="Vistaprint Green">
      <a:dk1>
        <a:srgbClr val="38454F"/>
      </a:dk1>
      <a:lt1>
        <a:sysClr val="window" lastClr="FFFFFF"/>
      </a:lt1>
      <a:dk2>
        <a:srgbClr val="00A34A"/>
      </a:dk2>
      <a:lt2>
        <a:srgbClr val="BFF21C"/>
      </a:lt2>
      <a:accent1>
        <a:srgbClr val="66DB2B"/>
      </a:accent1>
      <a:accent2>
        <a:srgbClr val="00A34A"/>
      </a:accent2>
      <a:accent3>
        <a:srgbClr val="FFC200"/>
      </a:accent3>
      <a:accent4>
        <a:srgbClr val="FF8200"/>
      </a:accent4>
      <a:accent5>
        <a:srgbClr val="E00808"/>
      </a:accent5>
      <a:accent6>
        <a:srgbClr val="EB0A87"/>
      </a:accent6>
      <a:hlink>
        <a:srgbClr val="AD00B0"/>
      </a:hlink>
      <a:folHlink>
        <a:srgbClr val="38454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6350" cap="flat">
          <a:noFill/>
          <a:prstDash val="solid"/>
          <a:miter lim="800000"/>
          <a:headEnd/>
          <a:tailEnd/>
        </a:ln>
        <a:extLst/>
      </a:spPr>
      <a:bodyPr vert="horz" wrap="square" lIns="91440" tIns="45720" rIns="91440" bIns="45720" numCol="1" rtlCol="0" anchor="t" anchorCtr="0" compatLnSpc="1">
        <a:prstTxWarp prst="textNoShape">
          <a:avLst/>
        </a:prstTxWarp>
      </a:bodyPr>
      <a:lstStyle>
        <a:defPPr algn="ctr">
          <a:defRPr/>
        </a:defPPr>
      </a:lstStyle>
    </a:spDef>
    <a:txDef>
      <a:spPr>
        <a:noFill/>
      </a:spPr>
      <a:bodyPr wrap="square" lIns="0" tIns="0" rIns="0" bIns="0" rtlCol="0" anchor="ctr">
        <a:spAutoFit/>
      </a:bodyPr>
      <a:lstStyle>
        <a:defPPr>
          <a:defRPr sz="1100" dirty="0" err="1" smtClean="0">
            <a:solidFill>
              <a:schemeClr val="tx1"/>
            </a:solidFill>
            <a:latin typeface="+mn-lt"/>
          </a:defRPr>
        </a:defPPr>
      </a:lstStyle>
    </a:txDef>
  </a:objectDefaults>
  <a:extraClrSchemeLst/>
</a:theme>
</file>

<file path=ppt/theme/theme4.xml><?xml version="1.0" encoding="utf-8"?>
<a:theme xmlns:a="http://schemas.openxmlformats.org/drawingml/2006/main" name="Purple Palette">
  <a:themeElements>
    <a:clrScheme name="Vistaprint Purple">
      <a:dk1>
        <a:srgbClr val="38454F"/>
      </a:dk1>
      <a:lt1>
        <a:sysClr val="window" lastClr="FFFFFF"/>
      </a:lt1>
      <a:dk2>
        <a:srgbClr val="6E0A96"/>
      </a:dk2>
      <a:lt2>
        <a:srgbClr val="EB0A87"/>
      </a:lt2>
      <a:accent1>
        <a:srgbClr val="AD00B0"/>
      </a:accent1>
      <a:accent2>
        <a:srgbClr val="6E0A96"/>
      </a:accent2>
      <a:accent3>
        <a:srgbClr val="FF4F00"/>
      </a:accent3>
      <a:accent4>
        <a:srgbClr val="FF8200"/>
      </a:accent4>
      <a:accent5>
        <a:srgbClr val="FFC200"/>
      </a:accent5>
      <a:accent6>
        <a:srgbClr val="BFF21C"/>
      </a:accent6>
      <a:hlink>
        <a:srgbClr val="2BA8E0"/>
      </a:hlink>
      <a:folHlink>
        <a:srgbClr val="38454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6350" cap="flat">
          <a:noFill/>
          <a:prstDash val="solid"/>
          <a:miter lim="800000"/>
          <a:headEnd/>
          <a:tailEnd/>
        </a:ln>
        <a:extLst/>
      </a:spPr>
      <a:bodyPr vert="horz" wrap="square" lIns="91440" tIns="45720" rIns="91440" bIns="45720" numCol="1" rtlCol="0" anchor="t" anchorCtr="0" compatLnSpc="1">
        <a:prstTxWarp prst="textNoShape">
          <a:avLst/>
        </a:prstTxWarp>
      </a:bodyPr>
      <a:lstStyle>
        <a:defPPr algn="ctr">
          <a:defRPr/>
        </a:defPPr>
      </a:lstStyle>
    </a:spDef>
    <a:txDef>
      <a:spPr>
        <a:noFill/>
      </a:spPr>
      <a:bodyPr wrap="square" lIns="0" tIns="0" rIns="0" bIns="0" rtlCol="0" anchor="ctr">
        <a:spAutoFit/>
      </a:bodyPr>
      <a:lstStyle>
        <a:defPPr>
          <a:defRPr sz="1100" dirty="0" err="1" smtClean="0">
            <a:solidFill>
              <a:schemeClr val="tx1"/>
            </a:solidFill>
            <a:latin typeface="+mn-lt"/>
          </a:defRPr>
        </a:defPPr>
      </a:lstStyle>
    </a:txDef>
  </a:objectDefaults>
  <a:extraClrSchemeLst/>
</a:theme>
</file>

<file path=ppt/theme/theme5.xml><?xml version="1.0" encoding="utf-8"?>
<a:theme xmlns:a="http://schemas.openxmlformats.org/drawingml/2006/main" name="1_Purple Palette">
  <a:themeElements>
    <a:clrScheme name="Vistaprint Purple">
      <a:dk1>
        <a:srgbClr val="38454F"/>
      </a:dk1>
      <a:lt1>
        <a:sysClr val="window" lastClr="FFFFFF"/>
      </a:lt1>
      <a:dk2>
        <a:srgbClr val="6E0A96"/>
      </a:dk2>
      <a:lt2>
        <a:srgbClr val="EB0A87"/>
      </a:lt2>
      <a:accent1>
        <a:srgbClr val="AD00B0"/>
      </a:accent1>
      <a:accent2>
        <a:srgbClr val="6E0A96"/>
      </a:accent2>
      <a:accent3>
        <a:srgbClr val="FF4F00"/>
      </a:accent3>
      <a:accent4>
        <a:srgbClr val="FF8200"/>
      </a:accent4>
      <a:accent5>
        <a:srgbClr val="FFC200"/>
      </a:accent5>
      <a:accent6>
        <a:srgbClr val="BFF21C"/>
      </a:accent6>
      <a:hlink>
        <a:srgbClr val="2BA8E0"/>
      </a:hlink>
      <a:folHlink>
        <a:srgbClr val="38454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6350" cap="flat">
          <a:noFill/>
          <a:prstDash val="solid"/>
          <a:miter lim="800000"/>
          <a:headEnd/>
          <a:tailEnd/>
        </a:ln>
        <a:extLst/>
      </a:spPr>
      <a:bodyPr vert="horz" wrap="square" lIns="91440" tIns="45720" rIns="91440" bIns="45720" numCol="1" rtlCol="0" anchor="t" anchorCtr="0" compatLnSpc="1">
        <a:prstTxWarp prst="textNoShape">
          <a:avLst/>
        </a:prstTxWarp>
      </a:bodyPr>
      <a:lstStyle>
        <a:defPPr algn="ctr">
          <a:defRPr/>
        </a:defPPr>
      </a:lstStyle>
    </a:spDef>
    <a:txDef>
      <a:spPr>
        <a:noFill/>
      </a:spPr>
      <a:bodyPr wrap="square" lIns="0" tIns="0" rIns="0" bIns="0" rtlCol="0" anchor="ctr">
        <a:spAutoFit/>
      </a:bodyPr>
      <a:lstStyle>
        <a:defPPr>
          <a:defRPr sz="1100" dirty="0" err="1" smtClean="0">
            <a:solidFill>
              <a:schemeClr val="tx1"/>
            </a:solidFill>
            <a:latin typeface="+mn-lt"/>
          </a:defRPr>
        </a:defPPr>
      </a:lstStyle>
    </a:txDef>
  </a:objectDefaults>
  <a:extraClrSchemeLst/>
</a:theme>
</file>

<file path=ppt/theme/theme6.xml><?xml version="1.0" encoding="utf-8"?>
<a:theme xmlns:a="http://schemas.openxmlformats.org/drawingml/2006/main" name="2_Purple Palette">
  <a:themeElements>
    <a:clrScheme name="Vistaprint Purple">
      <a:dk1>
        <a:srgbClr val="38454F"/>
      </a:dk1>
      <a:lt1>
        <a:sysClr val="window" lastClr="FFFFFF"/>
      </a:lt1>
      <a:dk2>
        <a:srgbClr val="6E0A96"/>
      </a:dk2>
      <a:lt2>
        <a:srgbClr val="EB0A87"/>
      </a:lt2>
      <a:accent1>
        <a:srgbClr val="AD00B0"/>
      </a:accent1>
      <a:accent2>
        <a:srgbClr val="6E0A96"/>
      </a:accent2>
      <a:accent3>
        <a:srgbClr val="FF4F00"/>
      </a:accent3>
      <a:accent4>
        <a:srgbClr val="FF8200"/>
      </a:accent4>
      <a:accent5>
        <a:srgbClr val="FFC200"/>
      </a:accent5>
      <a:accent6>
        <a:srgbClr val="BFF21C"/>
      </a:accent6>
      <a:hlink>
        <a:srgbClr val="2BA8E0"/>
      </a:hlink>
      <a:folHlink>
        <a:srgbClr val="38454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6350" cap="flat">
          <a:noFill/>
          <a:prstDash val="solid"/>
          <a:miter lim="800000"/>
          <a:headEnd/>
          <a:tailEnd/>
        </a:ln>
        <a:extLst/>
      </a:spPr>
      <a:bodyPr vert="horz" wrap="square" lIns="91440" tIns="45720" rIns="91440" bIns="45720" numCol="1" rtlCol="0" anchor="t" anchorCtr="0" compatLnSpc="1">
        <a:prstTxWarp prst="textNoShape">
          <a:avLst/>
        </a:prstTxWarp>
      </a:bodyPr>
      <a:lstStyle>
        <a:defPPr algn="ctr">
          <a:defRPr/>
        </a:defPPr>
      </a:lstStyle>
    </a:spDef>
    <a:txDef>
      <a:spPr>
        <a:noFill/>
      </a:spPr>
      <a:bodyPr wrap="square" lIns="0" tIns="0" rIns="0" bIns="0" rtlCol="0" anchor="ctr">
        <a:spAutoFit/>
      </a:bodyPr>
      <a:lstStyle>
        <a:defPPr>
          <a:defRPr sz="1100" dirty="0" err="1" smtClean="0">
            <a:solidFill>
              <a:schemeClr val="tx1"/>
            </a:solidFill>
            <a:latin typeface="+mn-lt"/>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fault Theme</Template>
  <TotalTime>404</TotalTime>
  <Words>460</Words>
  <Application>Microsoft Office PowerPoint</Application>
  <PresentationFormat>On-screen Show (4:3)</PresentationFormat>
  <Paragraphs>62</Paragraphs>
  <Slides>12</Slides>
  <Notes>11</Notes>
  <HiddenSlides>0</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1</vt:i4>
      </vt:variant>
      <vt:variant>
        <vt:lpstr>Slide Titles</vt:lpstr>
      </vt:variant>
      <vt:variant>
        <vt:i4>12</vt:i4>
      </vt:variant>
    </vt:vector>
  </HeadingPairs>
  <TitlesOfParts>
    <vt:vector size="25" baseType="lpstr">
      <vt:lpstr>Arial</vt:lpstr>
      <vt:lpstr>Arial Black</vt:lpstr>
      <vt:lpstr>Calibri</vt:lpstr>
      <vt:lpstr>Calibri Light</vt:lpstr>
      <vt:lpstr>Oslo</vt:lpstr>
      <vt:lpstr>Default Theme</vt:lpstr>
      <vt:lpstr>Orange Palette</vt:lpstr>
      <vt:lpstr>Green Palette</vt:lpstr>
      <vt:lpstr>Purple Palette</vt:lpstr>
      <vt:lpstr>1_Purple Palette</vt:lpstr>
      <vt:lpstr>2_Purple Palette</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Vistapri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Voice</dc:title>
  <dc:creator>Justine Senior</dc:creator>
  <cp:lastModifiedBy>Andrea Teodoro</cp:lastModifiedBy>
  <cp:revision>69</cp:revision>
  <cp:lastPrinted>2016-02-01T16:51:49Z</cp:lastPrinted>
  <dcterms:created xsi:type="dcterms:W3CDTF">2016-02-01T16:28:18Z</dcterms:created>
  <dcterms:modified xsi:type="dcterms:W3CDTF">2019-02-07T16:54:35Z</dcterms:modified>
</cp:coreProperties>
</file>